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709" r:id="rId5"/>
  </p:sldMasterIdLst>
  <p:notesMasterIdLst>
    <p:notesMasterId r:id="rId21"/>
  </p:notesMasterIdLst>
  <p:handoutMasterIdLst>
    <p:handoutMasterId r:id="rId22"/>
  </p:handoutMasterIdLst>
  <p:sldIdLst>
    <p:sldId id="1063" r:id="rId6"/>
    <p:sldId id="1117" r:id="rId7"/>
    <p:sldId id="2076137459" r:id="rId8"/>
    <p:sldId id="1168" r:id="rId9"/>
    <p:sldId id="2076137443" r:id="rId10"/>
    <p:sldId id="2076137460" r:id="rId11"/>
    <p:sldId id="1104" r:id="rId12"/>
    <p:sldId id="1051" r:id="rId13"/>
    <p:sldId id="1068" r:id="rId14"/>
    <p:sldId id="2076137454" r:id="rId15"/>
    <p:sldId id="1065" r:id="rId16"/>
    <p:sldId id="2076137435" r:id="rId17"/>
    <p:sldId id="2076137439" r:id="rId18"/>
    <p:sldId id="1126" r:id="rId19"/>
    <p:sldId id="1075" r:id="rId20"/>
  </p:sldIdLst>
  <p:sldSz cx="9144000" cy="5143500" type="screen16x9"/>
  <p:notesSz cx="6797675" cy="9926638"/>
  <p:defaultTextStyle>
    <a:defPPr>
      <a:defRPr lang="fi-FI"/>
    </a:defPPr>
    <a:lvl1pPr marL="0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1pPr>
    <a:lvl2pPr marL="339932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2pPr>
    <a:lvl3pPr marL="679871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3pPr>
    <a:lvl4pPr marL="1019807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4pPr>
    <a:lvl5pPr marL="1359744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5pPr>
    <a:lvl6pPr marL="1699681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6pPr>
    <a:lvl7pPr marL="2039614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7pPr>
    <a:lvl8pPr marL="2379548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8pPr>
    <a:lvl9pPr marL="2719486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ukonen Sini" initials="KS" lastIdx="7" clrIdx="0">
    <p:extLst>
      <p:ext uri="{19B8F6BF-5375-455C-9EA6-DF929625EA0E}">
        <p15:presenceInfo xmlns:p15="http://schemas.microsoft.com/office/powerpoint/2012/main" userId="S-1-5-21-1871869801-2214748161-1963216912-121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000000"/>
    <a:srgbClr val="FFFF00"/>
    <a:srgbClr val="85E869"/>
    <a:srgbClr val="FF805C"/>
    <a:srgbClr val="FF00B8"/>
    <a:srgbClr val="8A0FA6"/>
    <a:srgbClr val="141F94"/>
    <a:srgbClr val="0F78B2"/>
    <a:srgbClr val="0ACF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677A8DA-1FBC-4FCA-A88C-A75D5D9C7674}" v="3" dt="2022-08-08T05:35:32.639"/>
  </p1510:revLst>
</p1510:revInfo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Normaali tyyli 2 - Korostu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Normaali tyyli 2 - Korostu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Normaali tyyli 2 - Korostu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212" autoAdjust="0"/>
    <p:restoredTop sz="86016" autoAdjust="0"/>
  </p:normalViewPr>
  <p:slideViewPr>
    <p:cSldViewPr showGuides="1">
      <p:cViewPr varScale="1">
        <p:scale>
          <a:sx n="76" d="100"/>
          <a:sy n="76" d="100"/>
        </p:scale>
        <p:origin x="784" y="48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82" d="100"/>
          <a:sy n="82" d="100"/>
        </p:scale>
        <p:origin x="3972" y="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commentAuthors" Target="commentAuthors.xml"/><Relationship Id="rId28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l">
              <a:defRPr sz="1600" b="1">
                <a:solidFill>
                  <a:srgbClr val="000000"/>
                </a:solidFill>
              </a:defRPr>
            </a:pPr>
            <a:r>
              <a:rPr lang="en-US" sz="1050" b="0" err="1">
                <a:solidFill>
                  <a:srgbClr val="000000"/>
                </a:solidFill>
              </a:rPr>
              <a:t>Saldoluku</a:t>
            </a:r>
            <a:r>
              <a:rPr lang="en-US" sz="1050" b="0">
                <a:solidFill>
                  <a:srgbClr val="000000"/>
                </a:solidFill>
              </a:rPr>
              <a:t> </a:t>
            </a:r>
          </a:p>
        </c:rich>
      </c:tx>
      <c:layout>
        <c:manualLayout>
          <c:xMode val="edge"/>
          <c:yMode val="edge"/>
          <c:x val="0.79156077113516332"/>
          <c:y val="6.0947092908906618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4.4674120615740283E-2"/>
          <c:y val="3.5687247530145093E-2"/>
          <c:w val="0.93307819253678703"/>
          <c:h val="0.93088245034184414"/>
        </c:manualLayout>
      </c:layout>
      <c:lineChart>
        <c:grouping val="standar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Saldoluku</c:v>
                </c:pt>
              </c:strCache>
            </c:strRef>
          </c:tx>
          <c:spPr>
            <a:ln w="41275">
              <a:solidFill>
                <a:schemeClr val="accent1"/>
              </a:solidFill>
            </a:ln>
          </c:spPr>
          <c:marker>
            <c:symbol val="none"/>
          </c:marker>
          <c:cat>
            <c:strRef>
              <c:f>Taul1!$A$10:$A$62</c:f>
              <c:strCache>
                <c:ptCount val="52"/>
                <c:pt idx="0">
                  <c:v>09(10)</c:v>
                </c:pt>
                <c:pt idx="1">
                  <c:v>10(1)</c:v>
                </c:pt>
                <c:pt idx="2">
                  <c:v>10(4)</c:v>
                </c:pt>
                <c:pt idx="3">
                  <c:v>10(7)</c:v>
                </c:pt>
                <c:pt idx="4">
                  <c:v>10(10)</c:v>
                </c:pt>
                <c:pt idx="5">
                  <c:v>11(1)</c:v>
                </c:pt>
                <c:pt idx="6">
                  <c:v>11(4)</c:v>
                </c:pt>
                <c:pt idx="7">
                  <c:v>11(7)</c:v>
                </c:pt>
                <c:pt idx="8">
                  <c:v>11(10)</c:v>
                </c:pt>
                <c:pt idx="9">
                  <c:v>12(1)</c:v>
                </c:pt>
                <c:pt idx="10">
                  <c:v>12(4)</c:v>
                </c:pt>
                <c:pt idx="11">
                  <c:v>12(7)</c:v>
                </c:pt>
                <c:pt idx="12">
                  <c:v>12(10)</c:v>
                </c:pt>
                <c:pt idx="13">
                  <c:v>13(1)</c:v>
                </c:pt>
                <c:pt idx="14">
                  <c:v>13(4)</c:v>
                </c:pt>
                <c:pt idx="15">
                  <c:v>13(7)</c:v>
                </c:pt>
                <c:pt idx="16">
                  <c:v>13(10)</c:v>
                </c:pt>
                <c:pt idx="17">
                  <c:v>14(1)</c:v>
                </c:pt>
                <c:pt idx="18">
                  <c:v>14(4)</c:v>
                </c:pt>
                <c:pt idx="19">
                  <c:v>14(7)</c:v>
                </c:pt>
                <c:pt idx="20">
                  <c:v>14(10)</c:v>
                </c:pt>
                <c:pt idx="21">
                  <c:v>15(1)</c:v>
                </c:pt>
                <c:pt idx="22">
                  <c:v>15(4)</c:v>
                </c:pt>
                <c:pt idx="23">
                  <c:v>15(7)</c:v>
                </c:pt>
                <c:pt idx="24">
                  <c:v>15(10)</c:v>
                </c:pt>
                <c:pt idx="25">
                  <c:v>16(1)</c:v>
                </c:pt>
                <c:pt idx="26">
                  <c:v>16(4)</c:v>
                </c:pt>
                <c:pt idx="27">
                  <c:v>16(7)</c:v>
                </c:pt>
                <c:pt idx="28">
                  <c:v>16(10)</c:v>
                </c:pt>
                <c:pt idx="29">
                  <c:v>17(1)</c:v>
                </c:pt>
                <c:pt idx="30">
                  <c:v>17(4)</c:v>
                </c:pt>
                <c:pt idx="31">
                  <c:v>17(7)</c:v>
                </c:pt>
                <c:pt idx="32">
                  <c:v>17(10)</c:v>
                </c:pt>
                <c:pt idx="33">
                  <c:v>18(1)</c:v>
                </c:pt>
                <c:pt idx="34">
                  <c:v>18(4)</c:v>
                </c:pt>
                <c:pt idx="35">
                  <c:v>18(7)</c:v>
                </c:pt>
                <c:pt idx="36">
                  <c:v>18(10)</c:v>
                </c:pt>
                <c:pt idx="37">
                  <c:v>19(1)</c:v>
                </c:pt>
                <c:pt idx="38">
                  <c:v>19(4)</c:v>
                </c:pt>
                <c:pt idx="39">
                  <c:v>19(7)</c:v>
                </c:pt>
                <c:pt idx="40">
                  <c:v>19(10)</c:v>
                </c:pt>
                <c:pt idx="41">
                  <c:v>20(1)</c:v>
                </c:pt>
                <c:pt idx="42">
                  <c:v>20(4)</c:v>
                </c:pt>
                <c:pt idx="43">
                  <c:v>20(07)</c:v>
                </c:pt>
                <c:pt idx="44">
                  <c:v>20(10)</c:v>
                </c:pt>
                <c:pt idx="45">
                  <c:v>21(1)</c:v>
                </c:pt>
                <c:pt idx="46">
                  <c:v>21(4)</c:v>
                </c:pt>
                <c:pt idx="47">
                  <c:v>21(7)</c:v>
                </c:pt>
                <c:pt idx="48">
                  <c:v>21(10)</c:v>
                </c:pt>
                <c:pt idx="49">
                  <c:v>22(1)</c:v>
                </c:pt>
                <c:pt idx="50">
                  <c:v>22(4)</c:v>
                </c:pt>
                <c:pt idx="51">
                  <c:v>22(7)</c:v>
                </c:pt>
              </c:strCache>
            </c:strRef>
          </c:cat>
          <c:val>
            <c:numRef>
              <c:f>Taul1!$B$10:$B$62</c:f>
              <c:numCache>
                <c:formatCode>General</c:formatCode>
                <c:ptCount val="53"/>
                <c:pt idx="0">
                  <c:v>2</c:v>
                </c:pt>
                <c:pt idx="1">
                  <c:v>10</c:v>
                </c:pt>
                <c:pt idx="2">
                  <c:v>33</c:v>
                </c:pt>
                <c:pt idx="3">
                  <c:v>27</c:v>
                </c:pt>
                <c:pt idx="4">
                  <c:v>19</c:v>
                </c:pt>
                <c:pt idx="5">
                  <c:v>26</c:v>
                </c:pt>
                <c:pt idx="6">
                  <c:v>30</c:v>
                </c:pt>
                <c:pt idx="7">
                  <c:v>18</c:v>
                </c:pt>
                <c:pt idx="8">
                  <c:v>-5</c:v>
                </c:pt>
                <c:pt idx="9">
                  <c:v>-5</c:v>
                </c:pt>
                <c:pt idx="10">
                  <c:v>8</c:v>
                </c:pt>
                <c:pt idx="11">
                  <c:v>-4</c:v>
                </c:pt>
                <c:pt idx="12">
                  <c:v>-24</c:v>
                </c:pt>
                <c:pt idx="13">
                  <c:v>-11</c:v>
                </c:pt>
                <c:pt idx="14">
                  <c:v>-2</c:v>
                </c:pt>
                <c:pt idx="15">
                  <c:v>-11</c:v>
                </c:pt>
                <c:pt idx="16">
                  <c:v>-13</c:v>
                </c:pt>
                <c:pt idx="17">
                  <c:v>5</c:v>
                </c:pt>
                <c:pt idx="18">
                  <c:v>15</c:v>
                </c:pt>
                <c:pt idx="19">
                  <c:v>3</c:v>
                </c:pt>
                <c:pt idx="20">
                  <c:v>-12</c:v>
                </c:pt>
                <c:pt idx="21">
                  <c:v>-4</c:v>
                </c:pt>
                <c:pt idx="22">
                  <c:v>10</c:v>
                </c:pt>
                <c:pt idx="23">
                  <c:v>1</c:v>
                </c:pt>
                <c:pt idx="24">
                  <c:v>-3</c:v>
                </c:pt>
                <c:pt idx="25">
                  <c:v>1</c:v>
                </c:pt>
                <c:pt idx="26">
                  <c:v>18</c:v>
                </c:pt>
                <c:pt idx="27">
                  <c:v>4</c:v>
                </c:pt>
                <c:pt idx="28">
                  <c:v>9</c:v>
                </c:pt>
                <c:pt idx="29">
                  <c:v>14</c:v>
                </c:pt>
                <c:pt idx="30">
                  <c:v>24</c:v>
                </c:pt>
                <c:pt idx="31">
                  <c:v>24</c:v>
                </c:pt>
                <c:pt idx="32">
                  <c:v>21.45</c:v>
                </c:pt>
                <c:pt idx="33">
                  <c:v>26.4</c:v>
                </c:pt>
                <c:pt idx="34">
                  <c:v>24.3</c:v>
                </c:pt>
                <c:pt idx="35">
                  <c:v>11.46</c:v>
                </c:pt>
                <c:pt idx="36">
                  <c:v>0.45</c:v>
                </c:pt>
                <c:pt idx="37">
                  <c:v>4.71</c:v>
                </c:pt>
                <c:pt idx="38">
                  <c:v>12.19</c:v>
                </c:pt>
                <c:pt idx="39">
                  <c:v>-2.73</c:v>
                </c:pt>
                <c:pt idx="40">
                  <c:v>-16.66</c:v>
                </c:pt>
                <c:pt idx="41">
                  <c:v>-6.75</c:v>
                </c:pt>
                <c:pt idx="42">
                  <c:v>-41.7</c:v>
                </c:pt>
                <c:pt idx="43">
                  <c:v>-43.66</c:v>
                </c:pt>
                <c:pt idx="44">
                  <c:v>-16.29</c:v>
                </c:pt>
                <c:pt idx="45">
                  <c:v>7.89</c:v>
                </c:pt>
                <c:pt idx="46">
                  <c:v>26.61</c:v>
                </c:pt>
                <c:pt idx="47">
                  <c:v>29.11</c:v>
                </c:pt>
                <c:pt idx="48">
                  <c:v>21.43</c:v>
                </c:pt>
                <c:pt idx="49">
                  <c:v>17.13</c:v>
                </c:pt>
                <c:pt idx="50">
                  <c:v>6.57</c:v>
                </c:pt>
                <c:pt idx="51">
                  <c:v>4.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AD0-4FF0-85C3-A9C09AA007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07343216"/>
        <c:axId val="407343608"/>
      </c:lineChart>
      <c:catAx>
        <c:axId val="4073432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one"/>
        <c:txPr>
          <a:bodyPr/>
          <a:lstStyle/>
          <a:p>
            <a:pPr>
              <a:defRPr sz="1400" b="1" i="0" baseline="0">
                <a:latin typeface="Arial" panose="020B0604020202020204" pitchFamily="34" charset="0"/>
              </a:defRPr>
            </a:pPr>
            <a:endParaRPr lang="fi-FI"/>
          </a:p>
        </c:txPr>
        <c:crossAx val="407343608"/>
        <c:crosses val="autoZero"/>
        <c:auto val="1"/>
        <c:lblAlgn val="ctr"/>
        <c:lblOffset val="100"/>
        <c:tickLblSkip val="11"/>
        <c:tickMarkSkip val="4"/>
        <c:noMultiLvlLbl val="0"/>
      </c:catAx>
      <c:valAx>
        <c:axId val="407343608"/>
        <c:scaling>
          <c:orientation val="minMax"/>
          <c:max val="40"/>
          <c:min val="-6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 b="0" i="0" baseline="0">
                <a:solidFill>
                  <a:schemeClr val="tx2"/>
                </a:solidFill>
                <a:latin typeface="Verdana" panose="020B0604030504040204" pitchFamily="34" charset="0"/>
              </a:defRPr>
            </a:pPr>
            <a:endParaRPr lang="fi-FI"/>
          </a:p>
        </c:txPr>
        <c:crossAx val="407343216"/>
        <c:crosses val="autoZero"/>
        <c:crossBetween val="midCat"/>
        <c:majorUnit val="10"/>
        <c:minorUnit val="5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fi-FI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5676860397454752E-2"/>
          <c:y val="6.3860381253934756E-2"/>
          <c:w val="0.89915957979696026"/>
          <c:h val="0.662598831611302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Henkilöstömäärän muutos edelliseen neljännekseen verrattuna</c:v>
                </c:pt>
              </c:strCache>
            </c:strRef>
          </c:tx>
          <c:spPr>
            <a:solidFill>
              <a:srgbClr val="141F94"/>
            </a:solidFill>
            <a:ln>
              <a:noFill/>
            </a:ln>
            <a:effectLst/>
          </c:spPr>
          <c:invertIfNegative val="0"/>
          <c:cat>
            <c:strRef>
              <c:f>Taul1!$A$4:$A$33</c:f>
              <c:strCache>
                <c:ptCount val="30"/>
                <c:pt idx="0">
                  <c:v>2015Q1</c:v>
                </c:pt>
                <c:pt idx="1">
                  <c:v>2015Q2</c:v>
                </c:pt>
                <c:pt idx="2">
                  <c:v>2015Q3</c:v>
                </c:pt>
                <c:pt idx="3">
                  <c:v>2015Q4</c:v>
                </c:pt>
                <c:pt idx="4">
                  <c:v>2016Q1</c:v>
                </c:pt>
                <c:pt idx="5">
                  <c:v>2016Q2</c:v>
                </c:pt>
                <c:pt idx="6">
                  <c:v>2016Q3</c:v>
                </c:pt>
                <c:pt idx="7">
                  <c:v>2016Q4</c:v>
                </c:pt>
                <c:pt idx="8">
                  <c:v>2017Q1</c:v>
                </c:pt>
                <c:pt idx="9">
                  <c:v>2017Q2</c:v>
                </c:pt>
                <c:pt idx="10">
                  <c:v>2017Q3</c:v>
                </c:pt>
                <c:pt idx="11">
                  <c:v>2017Q4</c:v>
                </c:pt>
                <c:pt idx="12">
                  <c:v>2018Q1</c:v>
                </c:pt>
                <c:pt idx="13">
                  <c:v>2018Q2</c:v>
                </c:pt>
                <c:pt idx="14">
                  <c:v>2018Q3</c:v>
                </c:pt>
                <c:pt idx="15">
                  <c:v>2018Q4</c:v>
                </c:pt>
                <c:pt idx="16">
                  <c:v>2019Q1</c:v>
                </c:pt>
                <c:pt idx="17">
                  <c:v>2019Q2</c:v>
                </c:pt>
                <c:pt idx="18">
                  <c:v>2019Q3</c:v>
                </c:pt>
                <c:pt idx="19">
                  <c:v>2019Q4</c:v>
                </c:pt>
                <c:pt idx="20">
                  <c:v>2020Q1</c:v>
                </c:pt>
                <c:pt idx="21">
                  <c:v>2020Q2</c:v>
                </c:pt>
                <c:pt idx="22">
                  <c:v>2020Q3</c:v>
                </c:pt>
                <c:pt idx="23">
                  <c:v>2020Q4</c:v>
                </c:pt>
                <c:pt idx="24">
                  <c:v>2021Q1</c:v>
                </c:pt>
                <c:pt idx="25">
                  <c:v>2021Q2</c:v>
                </c:pt>
                <c:pt idx="26">
                  <c:v>2021Q3</c:v>
                </c:pt>
                <c:pt idx="27">
                  <c:v>2021Q4</c:v>
                </c:pt>
                <c:pt idx="28">
                  <c:v>2022Q1</c:v>
                </c:pt>
                <c:pt idx="29">
                  <c:v>2022Q2</c:v>
                </c:pt>
              </c:strCache>
            </c:strRef>
          </c:cat>
          <c:val>
            <c:numRef>
              <c:f>Taul1!$B$4:$B$33</c:f>
              <c:numCache>
                <c:formatCode>General</c:formatCode>
                <c:ptCount val="30"/>
                <c:pt idx="0">
                  <c:v>500</c:v>
                </c:pt>
                <c:pt idx="1">
                  <c:v>1464.6108658704907</c:v>
                </c:pt>
                <c:pt idx="2">
                  <c:v>-1043.8445894536562</c:v>
                </c:pt>
                <c:pt idx="3">
                  <c:v>-2242.6661510239355</c:v>
                </c:pt>
                <c:pt idx="4">
                  <c:v>-423.86039099266054</c:v>
                </c:pt>
                <c:pt idx="5">
                  <c:v>783.61812865873799</c:v>
                </c:pt>
                <c:pt idx="6">
                  <c:v>-1880.5028571592993</c:v>
                </c:pt>
                <c:pt idx="7">
                  <c:v>577.85174448625185</c:v>
                </c:pt>
                <c:pt idx="8">
                  <c:v>2477</c:v>
                </c:pt>
                <c:pt idx="9">
                  <c:v>3855</c:v>
                </c:pt>
                <c:pt idx="10">
                  <c:v>1906</c:v>
                </c:pt>
                <c:pt idx="11">
                  <c:v>1556</c:v>
                </c:pt>
                <c:pt idx="12">
                  <c:v>2395</c:v>
                </c:pt>
                <c:pt idx="13">
                  <c:v>4631</c:v>
                </c:pt>
                <c:pt idx="14" formatCode="#,##0">
                  <c:v>4578</c:v>
                </c:pt>
                <c:pt idx="15">
                  <c:v>756</c:v>
                </c:pt>
                <c:pt idx="16">
                  <c:v>3414</c:v>
                </c:pt>
                <c:pt idx="17">
                  <c:v>2632</c:v>
                </c:pt>
                <c:pt idx="18">
                  <c:v>1555</c:v>
                </c:pt>
                <c:pt idx="19">
                  <c:v>-757</c:v>
                </c:pt>
                <c:pt idx="20">
                  <c:v>-379</c:v>
                </c:pt>
                <c:pt idx="21">
                  <c:v>-2512</c:v>
                </c:pt>
                <c:pt idx="22">
                  <c:v>-1443</c:v>
                </c:pt>
                <c:pt idx="23" formatCode="#,##0">
                  <c:v>-1674.7485992709408</c:v>
                </c:pt>
                <c:pt idx="24">
                  <c:v>1159</c:v>
                </c:pt>
                <c:pt idx="25">
                  <c:v>3050</c:v>
                </c:pt>
                <c:pt idx="26">
                  <c:v>2200</c:v>
                </c:pt>
                <c:pt idx="27">
                  <c:v>1060</c:v>
                </c:pt>
                <c:pt idx="28">
                  <c:v>5742</c:v>
                </c:pt>
                <c:pt idx="29">
                  <c:v>51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6D-4616-AB7B-BA4A9C22802B}"/>
            </c:ext>
          </c:extLst>
        </c:ser>
        <c:ser>
          <c:idx val="1"/>
          <c:order val="1"/>
          <c:tx>
            <c:strRef>
              <c:f>Taul1!$C$1</c:f>
              <c:strCache>
                <c:ptCount val="1"/>
                <c:pt idx="0">
                  <c:v>Neljänneksen aikana rekrytoitujen määrä</c:v>
                </c:pt>
              </c:strCache>
            </c:strRef>
          </c:tx>
          <c:spPr>
            <a:solidFill>
              <a:srgbClr val="FF805C"/>
            </a:solidFill>
            <a:ln>
              <a:noFill/>
            </a:ln>
            <a:effectLst/>
          </c:spPr>
          <c:invertIfNegative val="0"/>
          <c:cat>
            <c:strRef>
              <c:f>Taul1!$A$4:$A$33</c:f>
              <c:strCache>
                <c:ptCount val="30"/>
                <c:pt idx="0">
                  <c:v>2015Q1</c:v>
                </c:pt>
                <c:pt idx="1">
                  <c:v>2015Q2</c:v>
                </c:pt>
                <c:pt idx="2">
                  <c:v>2015Q3</c:v>
                </c:pt>
                <c:pt idx="3">
                  <c:v>2015Q4</c:v>
                </c:pt>
                <c:pt idx="4">
                  <c:v>2016Q1</c:v>
                </c:pt>
                <c:pt idx="5">
                  <c:v>2016Q2</c:v>
                </c:pt>
                <c:pt idx="6">
                  <c:v>2016Q3</c:v>
                </c:pt>
                <c:pt idx="7">
                  <c:v>2016Q4</c:v>
                </c:pt>
                <c:pt idx="8">
                  <c:v>2017Q1</c:v>
                </c:pt>
                <c:pt idx="9">
                  <c:v>2017Q2</c:v>
                </c:pt>
                <c:pt idx="10">
                  <c:v>2017Q3</c:v>
                </c:pt>
                <c:pt idx="11">
                  <c:v>2017Q4</c:v>
                </c:pt>
                <c:pt idx="12">
                  <c:v>2018Q1</c:v>
                </c:pt>
                <c:pt idx="13">
                  <c:v>2018Q2</c:v>
                </c:pt>
                <c:pt idx="14">
                  <c:v>2018Q3</c:v>
                </c:pt>
                <c:pt idx="15">
                  <c:v>2018Q4</c:v>
                </c:pt>
                <c:pt idx="16">
                  <c:v>2019Q1</c:v>
                </c:pt>
                <c:pt idx="17">
                  <c:v>2019Q2</c:v>
                </c:pt>
                <c:pt idx="18">
                  <c:v>2019Q3</c:v>
                </c:pt>
                <c:pt idx="19">
                  <c:v>2019Q4</c:v>
                </c:pt>
                <c:pt idx="20">
                  <c:v>2020Q1</c:v>
                </c:pt>
                <c:pt idx="21">
                  <c:v>2020Q2</c:v>
                </c:pt>
                <c:pt idx="22">
                  <c:v>2020Q3</c:v>
                </c:pt>
                <c:pt idx="23">
                  <c:v>2020Q4</c:v>
                </c:pt>
                <c:pt idx="24">
                  <c:v>2021Q1</c:v>
                </c:pt>
                <c:pt idx="25">
                  <c:v>2021Q2</c:v>
                </c:pt>
                <c:pt idx="26">
                  <c:v>2021Q3</c:v>
                </c:pt>
                <c:pt idx="27">
                  <c:v>2021Q4</c:v>
                </c:pt>
                <c:pt idx="28">
                  <c:v>2022Q1</c:v>
                </c:pt>
                <c:pt idx="29">
                  <c:v>2022Q2</c:v>
                </c:pt>
              </c:strCache>
            </c:strRef>
          </c:cat>
          <c:val>
            <c:numRef>
              <c:f>Taul1!$C$4:$C$33</c:f>
              <c:numCache>
                <c:formatCode>#,##0</c:formatCode>
                <c:ptCount val="30"/>
                <c:pt idx="0">
                  <c:v>7851.4313289360571</c:v>
                </c:pt>
                <c:pt idx="1">
                  <c:v>6685.9122554600544</c:v>
                </c:pt>
                <c:pt idx="2" formatCode="General">
                  <c:v>7700</c:v>
                </c:pt>
                <c:pt idx="3">
                  <c:v>6176.3555772662821</c:v>
                </c:pt>
                <c:pt idx="4">
                  <c:v>7537.782188740196</c:v>
                </c:pt>
                <c:pt idx="5">
                  <c:v>6857.0390325418875</c:v>
                </c:pt>
                <c:pt idx="6" formatCode="General">
                  <c:v>6818</c:v>
                </c:pt>
                <c:pt idx="7" formatCode="General">
                  <c:v>7300</c:v>
                </c:pt>
                <c:pt idx="8" formatCode="General">
                  <c:v>11000</c:v>
                </c:pt>
                <c:pt idx="9" formatCode="General">
                  <c:v>11600</c:v>
                </c:pt>
                <c:pt idx="10" formatCode="General">
                  <c:v>10900</c:v>
                </c:pt>
                <c:pt idx="11" formatCode="General">
                  <c:v>9000</c:v>
                </c:pt>
                <c:pt idx="12">
                  <c:v>11000</c:v>
                </c:pt>
                <c:pt idx="13" formatCode="General">
                  <c:v>14600</c:v>
                </c:pt>
                <c:pt idx="14" formatCode="General">
                  <c:v>14700</c:v>
                </c:pt>
                <c:pt idx="15" formatCode="General">
                  <c:v>9600</c:v>
                </c:pt>
                <c:pt idx="16">
                  <c:v>12400</c:v>
                </c:pt>
                <c:pt idx="17" formatCode="General">
                  <c:v>11400</c:v>
                </c:pt>
                <c:pt idx="18" formatCode="General">
                  <c:v>9400</c:v>
                </c:pt>
                <c:pt idx="19" formatCode="General">
                  <c:v>7300</c:v>
                </c:pt>
                <c:pt idx="20">
                  <c:v>10400</c:v>
                </c:pt>
                <c:pt idx="21" formatCode="General">
                  <c:v>5900</c:v>
                </c:pt>
                <c:pt idx="22" formatCode="General">
                  <c:v>5500</c:v>
                </c:pt>
                <c:pt idx="23" formatCode="General">
                  <c:v>6500</c:v>
                </c:pt>
                <c:pt idx="24" formatCode="General">
                  <c:v>9500</c:v>
                </c:pt>
                <c:pt idx="25" formatCode="General">
                  <c:v>11500</c:v>
                </c:pt>
                <c:pt idx="26" formatCode="General">
                  <c:v>14000</c:v>
                </c:pt>
                <c:pt idx="27" formatCode="General">
                  <c:v>11500</c:v>
                </c:pt>
                <c:pt idx="28" formatCode="General">
                  <c:v>14800</c:v>
                </c:pt>
                <c:pt idx="29" formatCode="General">
                  <c:v>15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36D-4616-AB7B-BA4A9C2280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-21"/>
        <c:axId val="368210920"/>
        <c:axId val="368211704"/>
      </c:barChart>
      <c:catAx>
        <c:axId val="368210920"/>
        <c:scaling>
          <c:orientation val="minMax"/>
        </c:scaling>
        <c:delete val="0"/>
        <c:axPos val="b"/>
        <c:numFmt formatCode="General" sourceLinked="1"/>
        <c:majorTickMark val="cross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fi-FI"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368211704"/>
        <c:crosses val="autoZero"/>
        <c:auto val="1"/>
        <c:lblAlgn val="ctr"/>
        <c:lblOffset val="0"/>
        <c:noMultiLvlLbl val="0"/>
      </c:catAx>
      <c:valAx>
        <c:axId val="368211704"/>
        <c:scaling>
          <c:orientation val="minMax"/>
          <c:max val="16000"/>
          <c:min val="-4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3682109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1876346646111267E-2"/>
          <c:y val="0.91633433036153356"/>
          <c:w val="0.95491074975467694"/>
          <c:h val="6.603157705948033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fi-FI" sz="105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8616709084461717E-2"/>
          <c:y val="6.1726891542255774E-2"/>
          <c:w val="0.87725631768953072"/>
          <c:h val="0.7879456397854750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enkilöstö Suomessa </c:v>
                </c:pt>
              </c:strCache>
            </c:strRef>
          </c:tx>
          <c:spPr>
            <a:solidFill>
              <a:srgbClr val="141F94"/>
            </a:solidFill>
            <a:ln w="3195">
              <a:solidFill>
                <a:srgbClr val="000000"/>
              </a:solidFill>
              <a:prstDash val="solid"/>
            </a:ln>
          </c:spPr>
          <c:invertIfNegative val="0"/>
          <c:cat>
            <c:numRef>
              <c:f>Sheet1!$A$2:$A$16</c:f>
              <c:numCache>
                <c:formatCode>General</c:formatCode>
                <c:ptCount val="1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</c:numCache>
            </c:numRef>
          </c:cat>
          <c:val>
            <c:numRef>
              <c:f>Sheet1!$B$2:$B$16</c:f>
              <c:numCache>
                <c:formatCode>#,##0</c:formatCode>
                <c:ptCount val="15"/>
                <c:pt idx="0">
                  <c:v>326300</c:v>
                </c:pt>
                <c:pt idx="1">
                  <c:v>299200</c:v>
                </c:pt>
                <c:pt idx="2">
                  <c:v>284200</c:v>
                </c:pt>
                <c:pt idx="3">
                  <c:v>290200</c:v>
                </c:pt>
                <c:pt idx="4">
                  <c:v>296700</c:v>
                </c:pt>
                <c:pt idx="5">
                  <c:v>290700</c:v>
                </c:pt>
                <c:pt idx="6">
                  <c:v>287000</c:v>
                </c:pt>
                <c:pt idx="7">
                  <c:v>288300</c:v>
                </c:pt>
                <c:pt idx="8">
                  <c:v>290300</c:v>
                </c:pt>
                <c:pt idx="9">
                  <c:v>297100</c:v>
                </c:pt>
                <c:pt idx="10">
                  <c:v>307400</c:v>
                </c:pt>
                <c:pt idx="11">
                  <c:v>313600</c:v>
                </c:pt>
                <c:pt idx="12">
                  <c:v>313900</c:v>
                </c:pt>
                <c:pt idx="13">
                  <c:v>322700</c:v>
                </c:pt>
                <c:pt idx="14">
                  <c:v>336421.844905249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CEA-4536-86D0-AE95E4D4FA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enkilöstö tytäryrityksissä ulkomailla </c:v>
                </c:pt>
              </c:strCache>
            </c:strRef>
          </c:tx>
          <c:spPr>
            <a:solidFill>
              <a:srgbClr val="FF805C"/>
            </a:solidFill>
            <a:ln w="3195">
              <a:solidFill>
                <a:schemeClr val="tx1"/>
              </a:solidFill>
              <a:prstDash val="solid"/>
            </a:ln>
          </c:spPr>
          <c:invertIfNegative val="0"/>
          <c:cat>
            <c:numRef>
              <c:f>Sheet1!$A$2:$A$16</c:f>
              <c:numCache>
                <c:formatCode>General</c:formatCode>
                <c:ptCount val="1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</c:numCache>
            </c:numRef>
          </c:cat>
          <c:val>
            <c:numRef>
              <c:f>Sheet1!$C$2:$C$16</c:f>
              <c:numCache>
                <c:formatCode>#,##0</c:formatCode>
                <c:ptCount val="15"/>
                <c:pt idx="0">
                  <c:v>290178</c:v>
                </c:pt>
                <c:pt idx="1">
                  <c:v>279451</c:v>
                </c:pt>
                <c:pt idx="2">
                  <c:v>301810</c:v>
                </c:pt>
                <c:pt idx="3">
                  <c:v>327105</c:v>
                </c:pt>
                <c:pt idx="4">
                  <c:v>302967</c:v>
                </c:pt>
                <c:pt idx="5">
                  <c:v>287327</c:v>
                </c:pt>
                <c:pt idx="6" formatCode="General">
                  <c:v>273143</c:v>
                </c:pt>
                <c:pt idx="7" formatCode="General">
                  <c:v>255440.5</c:v>
                </c:pt>
                <c:pt idx="8" formatCode="General">
                  <c:v>284942.7</c:v>
                </c:pt>
                <c:pt idx="9" formatCode="General">
                  <c:v>283597</c:v>
                </c:pt>
                <c:pt idx="10" formatCode="General">
                  <c:v>287471</c:v>
                </c:pt>
                <c:pt idx="11" formatCode="General">
                  <c:v>297636</c:v>
                </c:pt>
                <c:pt idx="12" formatCode="General">
                  <c:v>288183</c:v>
                </c:pt>
                <c:pt idx="13" formatCode="General">
                  <c:v>2979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CEA-4536-86D0-AE95E4D4FA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70638952"/>
        <c:axId val="319901952"/>
      </c:barChart>
      <c:catAx>
        <c:axId val="3706389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9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 algn="ctr">
              <a:defRPr lang="fi-FI" sz="1050" b="0" i="0" u="none" strike="noStrike" kern="1200" baseline="0">
                <a:solidFill>
                  <a:srgbClr val="000000"/>
                </a:solidFill>
                <a:latin typeface="+mn-lt"/>
                <a:ea typeface="Arial"/>
                <a:cs typeface="Arial"/>
              </a:defRPr>
            </a:pPr>
            <a:endParaRPr lang="fi-FI"/>
          </a:p>
        </c:txPr>
        <c:crossAx val="31990195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319901952"/>
        <c:scaling>
          <c:orientation val="minMax"/>
          <c:max val="350000"/>
          <c:min val="150000"/>
        </c:scaling>
        <c:delete val="0"/>
        <c:axPos val="l"/>
        <c:majorGridlines>
          <c:spPr>
            <a:ln w="3195">
              <a:solidFill>
                <a:schemeClr val="tx2"/>
              </a:solidFill>
              <a:prstDash val="dash"/>
            </a:ln>
          </c:spPr>
        </c:majorGridlines>
        <c:numFmt formatCode="#,##0" sourceLinked="1"/>
        <c:majorTickMark val="out"/>
        <c:minorTickMark val="none"/>
        <c:tickLblPos val="nextTo"/>
        <c:spPr>
          <a:ln w="319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50" b="0" i="0" u="none" strike="noStrike" baseline="0">
                <a:solidFill>
                  <a:srgbClr val="000000"/>
                </a:solidFill>
                <a:latin typeface="+mn-lt"/>
                <a:ea typeface="Arial"/>
                <a:cs typeface="Arial"/>
              </a:defRPr>
            </a:pPr>
            <a:endParaRPr lang="fi-FI"/>
          </a:p>
        </c:txPr>
        <c:crossAx val="370638952"/>
        <c:crosses val="autoZero"/>
        <c:crossBetween val="between"/>
        <c:majorUnit val="20000"/>
      </c:valAx>
      <c:spPr>
        <a:noFill/>
        <a:ln w="12778">
          <a:solidFill>
            <a:schemeClr val="tx1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7.4608904933814682E-2"/>
          <c:y val="0.93476126285096073"/>
          <c:w val="0.89169675090252709"/>
          <c:h val="6.3344576417293907E-2"/>
        </c:manualLayout>
      </c:layout>
      <c:overlay val="0"/>
      <c:spPr>
        <a:noFill/>
        <a:ln w="25556">
          <a:noFill/>
        </a:ln>
      </c:spPr>
      <c:txPr>
        <a:bodyPr/>
        <a:lstStyle/>
        <a:p>
          <a:pPr algn="ctr">
            <a:defRPr lang="fi-FI" sz="1050" b="0" i="0" u="none" strike="noStrike" kern="1200" baseline="0">
              <a:solidFill>
                <a:srgbClr val="000000"/>
              </a:solidFill>
              <a:latin typeface="+mn-lt"/>
              <a:ea typeface="Arial"/>
              <a:cs typeface="Arial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7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fi-FI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919674910102741E-2"/>
          <c:y val="4.0749431293150853E-2"/>
          <c:w val="0.78734293607653982"/>
          <c:h val="0.8325804682121570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hteensä</c:v>
                </c:pt>
              </c:strCache>
            </c:strRef>
          </c:tx>
          <c:spPr>
            <a:ln w="38100">
              <a:solidFill>
                <a:schemeClr val="tx2"/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  <c:pt idx="49">
                  <c:v>2022,I</c:v>
                </c:pt>
              </c:strCache>
            </c:strRef>
          </c:cat>
          <c:val>
            <c:numRef>
              <c:f>Sheet1!$B$2:$B$54</c:f>
              <c:numCache>
                <c:formatCode>General</c:formatCode>
                <c:ptCount val="53"/>
                <c:pt idx="1">
                  <c:v>6581.54</c:v>
                </c:pt>
                <c:pt idx="2">
                  <c:v>6828.33</c:v>
                </c:pt>
                <c:pt idx="3">
                  <c:v>6684.96</c:v>
                </c:pt>
                <c:pt idx="4">
                  <c:v>8744.18</c:v>
                </c:pt>
                <c:pt idx="5">
                  <c:v>8039.07</c:v>
                </c:pt>
                <c:pt idx="6">
                  <c:v>8369.5</c:v>
                </c:pt>
                <c:pt idx="7">
                  <c:v>7326.13</c:v>
                </c:pt>
                <c:pt idx="8">
                  <c:v>9028.7000000000007</c:v>
                </c:pt>
                <c:pt idx="9">
                  <c:v>7867.55</c:v>
                </c:pt>
                <c:pt idx="10">
                  <c:v>8184.54</c:v>
                </c:pt>
                <c:pt idx="11">
                  <c:v>7259.63</c:v>
                </c:pt>
                <c:pt idx="12">
                  <c:v>8497.27</c:v>
                </c:pt>
                <c:pt idx="13">
                  <c:v>6721.02</c:v>
                </c:pt>
                <c:pt idx="14">
                  <c:v>7169.93</c:v>
                </c:pt>
                <c:pt idx="15">
                  <c:v>6505.82</c:v>
                </c:pt>
                <c:pt idx="16">
                  <c:v>7259.55</c:v>
                </c:pt>
                <c:pt idx="17">
                  <c:v>7273.28</c:v>
                </c:pt>
                <c:pt idx="18">
                  <c:v>7535.24</c:v>
                </c:pt>
                <c:pt idx="19">
                  <c:v>8865.7800000000007</c:v>
                </c:pt>
                <c:pt idx="20">
                  <c:v>7645.94</c:v>
                </c:pt>
                <c:pt idx="21">
                  <c:v>6610.4</c:v>
                </c:pt>
                <c:pt idx="22">
                  <c:v>8588.48</c:v>
                </c:pt>
                <c:pt idx="23">
                  <c:v>6951.17</c:v>
                </c:pt>
                <c:pt idx="24">
                  <c:v>7817.78</c:v>
                </c:pt>
                <c:pt idx="25">
                  <c:v>6687.95</c:v>
                </c:pt>
                <c:pt idx="26">
                  <c:v>6363.66</c:v>
                </c:pt>
                <c:pt idx="27">
                  <c:v>6349.4</c:v>
                </c:pt>
                <c:pt idx="28">
                  <c:v>7842.76</c:v>
                </c:pt>
                <c:pt idx="29">
                  <c:v>7477.48</c:v>
                </c:pt>
                <c:pt idx="30">
                  <c:v>9456.82</c:v>
                </c:pt>
                <c:pt idx="31">
                  <c:v>7119.07</c:v>
                </c:pt>
                <c:pt idx="32">
                  <c:v>11062.66</c:v>
                </c:pt>
                <c:pt idx="33">
                  <c:v>8906.01</c:v>
                </c:pt>
                <c:pt idx="34">
                  <c:v>8646.17</c:v>
                </c:pt>
                <c:pt idx="35">
                  <c:v>8714.52</c:v>
                </c:pt>
                <c:pt idx="36">
                  <c:v>9910.0499999999993</c:v>
                </c:pt>
                <c:pt idx="37">
                  <c:v>9916.4</c:v>
                </c:pt>
                <c:pt idx="38">
                  <c:v>9481.16</c:v>
                </c:pt>
                <c:pt idx="39">
                  <c:v>9795.76</c:v>
                </c:pt>
                <c:pt idx="40">
                  <c:v>11220.7</c:v>
                </c:pt>
                <c:pt idx="41">
                  <c:v>8793.1200000000008</c:v>
                </c:pt>
                <c:pt idx="42">
                  <c:v>8095.57</c:v>
                </c:pt>
                <c:pt idx="43">
                  <c:v>8588.84</c:v>
                </c:pt>
                <c:pt idx="44">
                  <c:v>12930.66</c:v>
                </c:pt>
                <c:pt idx="45">
                  <c:v>9227.6299999999992</c:v>
                </c:pt>
                <c:pt idx="46">
                  <c:v>9851.7800000000007</c:v>
                </c:pt>
                <c:pt idx="47">
                  <c:v>9654.9599999999991</c:v>
                </c:pt>
                <c:pt idx="48">
                  <c:v>13465.13</c:v>
                </c:pt>
                <c:pt idx="49">
                  <c:v>10044.370000000001</c:v>
                </c:pt>
                <c:pt idx="50">
                  <c:v>11033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439-479B-85F0-B6B7B0DB066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ientiin</c:v>
                </c:pt>
              </c:strCache>
            </c:strRef>
          </c:tx>
          <c:spPr>
            <a:ln w="38100">
              <a:solidFill>
                <a:schemeClr val="accent1">
                  <a:lumMod val="60000"/>
                  <a:lumOff val="40000"/>
                </a:schemeClr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  <c:pt idx="49">
                  <c:v>2022,I</c:v>
                </c:pt>
              </c:strCache>
            </c:strRef>
          </c:cat>
          <c:val>
            <c:numRef>
              <c:f>Sheet1!$C$2:$C$54</c:f>
              <c:numCache>
                <c:formatCode>General</c:formatCode>
                <c:ptCount val="53"/>
                <c:pt idx="1">
                  <c:v>4970.3999999999996</c:v>
                </c:pt>
                <c:pt idx="2">
                  <c:v>5357.78</c:v>
                </c:pt>
                <c:pt idx="3">
                  <c:v>5263.28</c:v>
                </c:pt>
                <c:pt idx="4">
                  <c:v>6567.41</c:v>
                </c:pt>
                <c:pt idx="5">
                  <c:v>5697.09</c:v>
                </c:pt>
                <c:pt idx="6">
                  <c:v>6446.61</c:v>
                </c:pt>
                <c:pt idx="7">
                  <c:v>5560.66</c:v>
                </c:pt>
                <c:pt idx="8">
                  <c:v>6898.34</c:v>
                </c:pt>
                <c:pt idx="9">
                  <c:v>5900.77</c:v>
                </c:pt>
                <c:pt idx="10">
                  <c:v>6321.02</c:v>
                </c:pt>
                <c:pt idx="11">
                  <c:v>5803.78</c:v>
                </c:pt>
                <c:pt idx="12">
                  <c:v>6803.74</c:v>
                </c:pt>
                <c:pt idx="13">
                  <c:v>5015.4399999999996</c:v>
                </c:pt>
                <c:pt idx="14">
                  <c:v>5349.05</c:v>
                </c:pt>
                <c:pt idx="15">
                  <c:v>5062.07</c:v>
                </c:pt>
                <c:pt idx="16">
                  <c:v>5649.46</c:v>
                </c:pt>
                <c:pt idx="17">
                  <c:v>5274.29</c:v>
                </c:pt>
                <c:pt idx="18">
                  <c:v>5469.31</c:v>
                </c:pt>
                <c:pt idx="19">
                  <c:v>6401.97</c:v>
                </c:pt>
                <c:pt idx="20">
                  <c:v>5721.48</c:v>
                </c:pt>
                <c:pt idx="21">
                  <c:v>4673.42</c:v>
                </c:pt>
                <c:pt idx="22">
                  <c:v>6262.38</c:v>
                </c:pt>
                <c:pt idx="23">
                  <c:v>5341.66</c:v>
                </c:pt>
                <c:pt idx="24">
                  <c:v>5572.71</c:v>
                </c:pt>
                <c:pt idx="25">
                  <c:v>4648.79</c:v>
                </c:pt>
                <c:pt idx="26">
                  <c:v>4457.49</c:v>
                </c:pt>
                <c:pt idx="27">
                  <c:v>4544.1499999999996</c:v>
                </c:pt>
                <c:pt idx="28">
                  <c:v>5463.64</c:v>
                </c:pt>
                <c:pt idx="29">
                  <c:v>5501.75</c:v>
                </c:pt>
                <c:pt idx="30">
                  <c:v>7348.88</c:v>
                </c:pt>
                <c:pt idx="31">
                  <c:v>5080.57</c:v>
                </c:pt>
                <c:pt idx="32">
                  <c:v>8145.92</c:v>
                </c:pt>
                <c:pt idx="33">
                  <c:v>5864.53</c:v>
                </c:pt>
                <c:pt idx="34">
                  <c:v>6214.87</c:v>
                </c:pt>
                <c:pt idx="35">
                  <c:v>6497.81</c:v>
                </c:pt>
                <c:pt idx="36">
                  <c:v>7154.33</c:v>
                </c:pt>
                <c:pt idx="37">
                  <c:v>7045.32</c:v>
                </c:pt>
                <c:pt idx="38">
                  <c:v>6550.81</c:v>
                </c:pt>
                <c:pt idx="39">
                  <c:v>7041.19</c:v>
                </c:pt>
                <c:pt idx="40">
                  <c:v>8617.2900000000009</c:v>
                </c:pt>
                <c:pt idx="41">
                  <c:v>6214.26</c:v>
                </c:pt>
                <c:pt idx="42">
                  <c:v>5659.59</c:v>
                </c:pt>
                <c:pt idx="43">
                  <c:v>6323.33</c:v>
                </c:pt>
                <c:pt idx="44">
                  <c:v>9451.06</c:v>
                </c:pt>
                <c:pt idx="45">
                  <c:v>6624.72</c:v>
                </c:pt>
                <c:pt idx="46">
                  <c:v>7642.07</c:v>
                </c:pt>
                <c:pt idx="47">
                  <c:v>7730.74</c:v>
                </c:pt>
                <c:pt idx="48">
                  <c:v>10670.44</c:v>
                </c:pt>
                <c:pt idx="49">
                  <c:v>7725.8</c:v>
                </c:pt>
                <c:pt idx="50">
                  <c:v>8098.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439-479B-85F0-B6B7B0DB066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Kotimaahan</c:v>
                </c:pt>
              </c:strCache>
            </c:strRef>
          </c:tx>
          <c:spPr>
            <a:ln w="38100">
              <a:solidFill>
                <a:schemeClr val="accent2"/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  <c:pt idx="49">
                  <c:v>2022,I</c:v>
                </c:pt>
              </c:strCache>
            </c:strRef>
          </c:cat>
          <c:val>
            <c:numRef>
              <c:f>Sheet1!$D$2:$D$54</c:f>
              <c:numCache>
                <c:formatCode>General</c:formatCode>
                <c:ptCount val="53"/>
                <c:pt idx="1">
                  <c:v>1574.29</c:v>
                </c:pt>
                <c:pt idx="2">
                  <c:v>1432.51</c:v>
                </c:pt>
                <c:pt idx="3">
                  <c:v>1381.2</c:v>
                </c:pt>
                <c:pt idx="4">
                  <c:v>2110.38</c:v>
                </c:pt>
                <c:pt idx="5">
                  <c:v>2268.88</c:v>
                </c:pt>
                <c:pt idx="6">
                  <c:v>1862.92</c:v>
                </c:pt>
                <c:pt idx="7">
                  <c:v>1696.89</c:v>
                </c:pt>
                <c:pt idx="8">
                  <c:v>2046.45</c:v>
                </c:pt>
                <c:pt idx="9">
                  <c:v>1880.63</c:v>
                </c:pt>
                <c:pt idx="10">
                  <c:v>1779.59</c:v>
                </c:pt>
                <c:pt idx="11">
                  <c:v>1396.2</c:v>
                </c:pt>
                <c:pt idx="12">
                  <c:v>1623.97</c:v>
                </c:pt>
                <c:pt idx="13">
                  <c:v>1626.91</c:v>
                </c:pt>
                <c:pt idx="14">
                  <c:v>1751.96</c:v>
                </c:pt>
                <c:pt idx="15">
                  <c:v>1377.45</c:v>
                </c:pt>
                <c:pt idx="16">
                  <c:v>1527.53</c:v>
                </c:pt>
                <c:pt idx="17">
                  <c:v>1913.04</c:v>
                </c:pt>
                <c:pt idx="18">
                  <c:v>1986.89</c:v>
                </c:pt>
                <c:pt idx="19">
                  <c:v>2402.52</c:v>
                </c:pt>
                <c:pt idx="20">
                  <c:v>1821.83</c:v>
                </c:pt>
                <c:pt idx="21">
                  <c:v>1845.58</c:v>
                </c:pt>
                <c:pt idx="22">
                  <c:v>2227.14</c:v>
                </c:pt>
                <c:pt idx="23">
                  <c:v>1535.48</c:v>
                </c:pt>
                <c:pt idx="24">
                  <c:v>2155.85</c:v>
                </c:pt>
                <c:pt idx="25">
                  <c:v>1939.77</c:v>
                </c:pt>
                <c:pt idx="26">
                  <c:v>1806.36</c:v>
                </c:pt>
                <c:pt idx="27">
                  <c:v>1720.56</c:v>
                </c:pt>
                <c:pt idx="28">
                  <c:v>2277.0700000000002</c:v>
                </c:pt>
                <c:pt idx="29">
                  <c:v>1864.49</c:v>
                </c:pt>
                <c:pt idx="30">
                  <c:v>1995.87</c:v>
                </c:pt>
                <c:pt idx="31">
                  <c:v>1946.57</c:v>
                </c:pt>
                <c:pt idx="32">
                  <c:v>2785.84</c:v>
                </c:pt>
                <c:pt idx="33">
                  <c:v>2859.28</c:v>
                </c:pt>
                <c:pt idx="34">
                  <c:v>2266.7600000000002</c:v>
                </c:pt>
                <c:pt idx="35">
                  <c:v>2085.1999999999998</c:v>
                </c:pt>
                <c:pt idx="36">
                  <c:v>2581.34</c:v>
                </c:pt>
                <c:pt idx="37">
                  <c:v>2698.58</c:v>
                </c:pt>
                <c:pt idx="38">
                  <c:v>2776.97</c:v>
                </c:pt>
                <c:pt idx="39">
                  <c:v>2625.62</c:v>
                </c:pt>
                <c:pt idx="40">
                  <c:v>2427.9699999999998</c:v>
                </c:pt>
                <c:pt idx="41">
                  <c:v>2394.54</c:v>
                </c:pt>
                <c:pt idx="42">
                  <c:v>2257.4299999999998</c:v>
                </c:pt>
                <c:pt idx="43">
                  <c:v>2119.44</c:v>
                </c:pt>
                <c:pt idx="44">
                  <c:v>3289.39</c:v>
                </c:pt>
                <c:pt idx="45">
                  <c:v>2409.58</c:v>
                </c:pt>
                <c:pt idx="46">
                  <c:v>2000.26</c:v>
                </c:pt>
                <c:pt idx="47">
                  <c:v>1720.64</c:v>
                </c:pt>
                <c:pt idx="48">
                  <c:v>2566.09</c:v>
                </c:pt>
                <c:pt idx="49">
                  <c:v>2055.8200000000002</c:v>
                </c:pt>
                <c:pt idx="50">
                  <c:v>2690.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439-479B-85F0-B6B7B0DB06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9111064"/>
        <c:axId val="369111456"/>
      </c:lineChart>
      <c:catAx>
        <c:axId val="369111064"/>
        <c:scaling>
          <c:orientation val="minMax"/>
        </c:scaling>
        <c:delete val="0"/>
        <c:axPos val="b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General" sourceLinked="1"/>
        <c:majorTickMark val="out"/>
        <c:minorTickMark val="none"/>
        <c:tickLblPos val="none"/>
        <c:spPr>
          <a:ln w="284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948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fi-FI"/>
          </a:p>
        </c:txPr>
        <c:crossAx val="369111456"/>
        <c:crosses val="autoZero"/>
        <c:auto val="1"/>
        <c:lblAlgn val="ctr"/>
        <c:lblOffset val="100"/>
        <c:tickLblSkip val="3"/>
        <c:tickMarkSkip val="4"/>
        <c:noMultiLvlLbl val="0"/>
      </c:catAx>
      <c:valAx>
        <c:axId val="369111456"/>
        <c:scaling>
          <c:orientation val="minMax"/>
          <c:max val="15000"/>
          <c:min val="0"/>
        </c:scaling>
        <c:delete val="0"/>
        <c:axPos val="l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#,##0" sourceLinked="0"/>
        <c:majorTickMark val="out"/>
        <c:minorTickMark val="none"/>
        <c:tickLblPos val="nextTo"/>
        <c:spPr>
          <a:ln w="284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50" b="0" i="0" u="none" strike="noStrike" baseline="0">
                <a:solidFill>
                  <a:schemeClr val="tx2"/>
                </a:solidFill>
                <a:latin typeface="Verdana" panose="020B0604030504040204" pitchFamily="34" charset="0"/>
                <a:ea typeface="Arial"/>
                <a:cs typeface="Arial"/>
              </a:defRPr>
            </a:pPr>
            <a:endParaRPr lang="fi-FI"/>
          </a:p>
        </c:txPr>
        <c:crossAx val="369111064"/>
        <c:crosses val="autoZero"/>
        <c:crossBetween val="midCat"/>
        <c:majorUnit val="1000"/>
        <c:minorUnit val="500"/>
      </c:valAx>
      <c:spPr>
        <a:noFill/>
        <a:ln w="11372">
          <a:solidFill>
            <a:schemeClr val="tx1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0.86988108704736133"/>
          <c:y val="0.19757124334097242"/>
          <c:w val="0.13011891295263864"/>
          <c:h val="0.61234378114075594"/>
        </c:manualLayout>
      </c:layout>
      <c:overlay val="0"/>
      <c:spPr>
        <a:solidFill>
          <a:schemeClr val="bg1"/>
        </a:solidFill>
        <a:ln w="2843">
          <a:noFill/>
          <a:prstDash val="solid"/>
        </a:ln>
      </c:spPr>
      <c:txPr>
        <a:bodyPr/>
        <a:lstStyle/>
        <a:p>
          <a:pPr>
            <a:defRPr sz="1050" b="0" i="0" u="none" strike="noStrike" baseline="0">
              <a:solidFill>
                <a:schemeClr val="tx2"/>
              </a:solidFill>
              <a:latin typeface="Verdana" panose="020B0604030504040204" pitchFamily="34" charset="0"/>
              <a:ea typeface="Arial"/>
              <a:cs typeface="Arial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948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fi-FI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919674910102741E-2"/>
          <c:y val="4.0749431293150853E-2"/>
          <c:w val="0.78734293607653982"/>
          <c:h val="0.8325804682121570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hteensä</c:v>
                </c:pt>
              </c:strCache>
            </c:strRef>
          </c:tx>
          <c:spPr>
            <a:ln w="38100">
              <a:solidFill>
                <a:schemeClr val="tx2"/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  <c:pt idx="49">
                  <c:v>2022,I</c:v>
                </c:pt>
              </c:strCache>
            </c:strRef>
          </c:cat>
          <c:val>
            <c:numRef>
              <c:f>Sheet1!$B$2:$B$54</c:f>
              <c:numCache>
                <c:formatCode>General</c:formatCode>
                <c:ptCount val="53"/>
                <c:pt idx="1">
                  <c:v>2167.44</c:v>
                </c:pt>
                <c:pt idx="2">
                  <c:v>2658.35</c:v>
                </c:pt>
                <c:pt idx="3">
                  <c:v>2413.75</c:v>
                </c:pt>
                <c:pt idx="4">
                  <c:v>3236.35</c:v>
                </c:pt>
                <c:pt idx="5">
                  <c:v>3432.84</c:v>
                </c:pt>
                <c:pt idx="6">
                  <c:v>4346.12</c:v>
                </c:pt>
                <c:pt idx="7">
                  <c:v>3258.38</c:v>
                </c:pt>
                <c:pt idx="8">
                  <c:v>3789.12</c:v>
                </c:pt>
                <c:pt idx="9">
                  <c:v>3617.91</c:v>
                </c:pt>
                <c:pt idx="10">
                  <c:v>3461.25</c:v>
                </c:pt>
                <c:pt idx="11">
                  <c:v>3160.15</c:v>
                </c:pt>
                <c:pt idx="12">
                  <c:v>3887.99</c:v>
                </c:pt>
                <c:pt idx="13">
                  <c:v>3160.23</c:v>
                </c:pt>
                <c:pt idx="14">
                  <c:v>3438.97</c:v>
                </c:pt>
                <c:pt idx="15">
                  <c:v>3177.44</c:v>
                </c:pt>
                <c:pt idx="16">
                  <c:v>3177.9</c:v>
                </c:pt>
                <c:pt idx="17">
                  <c:v>3878.04</c:v>
                </c:pt>
                <c:pt idx="18">
                  <c:v>4200.66</c:v>
                </c:pt>
                <c:pt idx="19">
                  <c:v>4894.82</c:v>
                </c:pt>
                <c:pt idx="20">
                  <c:v>3922.24</c:v>
                </c:pt>
                <c:pt idx="21">
                  <c:v>3530.4</c:v>
                </c:pt>
                <c:pt idx="22">
                  <c:v>5530.41</c:v>
                </c:pt>
                <c:pt idx="23">
                  <c:v>4202.54</c:v>
                </c:pt>
                <c:pt idx="24">
                  <c:v>3945.98</c:v>
                </c:pt>
                <c:pt idx="25">
                  <c:v>3590.82</c:v>
                </c:pt>
                <c:pt idx="26">
                  <c:v>3335.18</c:v>
                </c:pt>
                <c:pt idx="27">
                  <c:v>3185.99</c:v>
                </c:pt>
                <c:pt idx="28">
                  <c:v>4224.4399999999996</c:v>
                </c:pt>
                <c:pt idx="29">
                  <c:v>4184.3100000000004</c:v>
                </c:pt>
                <c:pt idx="30">
                  <c:v>5988.4</c:v>
                </c:pt>
                <c:pt idx="31">
                  <c:v>3867.81</c:v>
                </c:pt>
                <c:pt idx="32">
                  <c:v>7275.68</c:v>
                </c:pt>
                <c:pt idx="33">
                  <c:v>4889.93</c:v>
                </c:pt>
                <c:pt idx="34">
                  <c:v>4864.62</c:v>
                </c:pt>
                <c:pt idx="35">
                  <c:v>4954.8</c:v>
                </c:pt>
                <c:pt idx="36">
                  <c:v>5628.28</c:v>
                </c:pt>
                <c:pt idx="37">
                  <c:v>5534.7</c:v>
                </c:pt>
                <c:pt idx="38">
                  <c:v>5030.29</c:v>
                </c:pt>
                <c:pt idx="39">
                  <c:v>4881.96</c:v>
                </c:pt>
                <c:pt idx="40">
                  <c:v>5739.87</c:v>
                </c:pt>
                <c:pt idx="41">
                  <c:v>4459.9799999999996</c:v>
                </c:pt>
                <c:pt idx="42">
                  <c:v>3403.21</c:v>
                </c:pt>
                <c:pt idx="43">
                  <c:v>3863.04</c:v>
                </c:pt>
                <c:pt idx="44">
                  <c:v>5748.25</c:v>
                </c:pt>
                <c:pt idx="45">
                  <c:v>4743.62</c:v>
                </c:pt>
                <c:pt idx="46">
                  <c:v>5114.5600000000004</c:v>
                </c:pt>
                <c:pt idx="47">
                  <c:v>4850.42</c:v>
                </c:pt>
                <c:pt idx="48">
                  <c:v>6161.68</c:v>
                </c:pt>
                <c:pt idx="49">
                  <c:v>5220.3500000000004</c:v>
                </c:pt>
                <c:pt idx="50">
                  <c:v>5365.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439-479B-85F0-B6B7B0DB066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ientiin</c:v>
                </c:pt>
              </c:strCache>
            </c:strRef>
          </c:tx>
          <c:spPr>
            <a:ln w="38100">
              <a:solidFill>
                <a:schemeClr val="accent1">
                  <a:lumMod val="60000"/>
                  <a:lumOff val="40000"/>
                </a:schemeClr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  <c:pt idx="49">
                  <c:v>2022,I</c:v>
                </c:pt>
              </c:strCache>
            </c:strRef>
          </c:cat>
          <c:val>
            <c:numRef>
              <c:f>Sheet1!$C$2:$C$54</c:f>
              <c:numCache>
                <c:formatCode>General</c:formatCode>
                <c:ptCount val="53"/>
                <c:pt idx="1">
                  <c:v>1597.97</c:v>
                </c:pt>
                <c:pt idx="2">
                  <c:v>1961.59</c:v>
                </c:pt>
                <c:pt idx="3">
                  <c:v>1915.18</c:v>
                </c:pt>
                <c:pt idx="4">
                  <c:v>2269.48</c:v>
                </c:pt>
                <c:pt idx="5">
                  <c:v>2397.34</c:v>
                </c:pt>
                <c:pt idx="6">
                  <c:v>3252.6</c:v>
                </c:pt>
                <c:pt idx="7">
                  <c:v>2484.85</c:v>
                </c:pt>
                <c:pt idx="8">
                  <c:v>2863.29</c:v>
                </c:pt>
                <c:pt idx="9">
                  <c:v>2692.8</c:v>
                </c:pt>
                <c:pt idx="10">
                  <c:v>2548.86</c:v>
                </c:pt>
                <c:pt idx="11">
                  <c:v>2352.48</c:v>
                </c:pt>
                <c:pt idx="12">
                  <c:v>3015.7</c:v>
                </c:pt>
                <c:pt idx="13">
                  <c:v>2389.3000000000002</c:v>
                </c:pt>
                <c:pt idx="14">
                  <c:v>2441.09</c:v>
                </c:pt>
                <c:pt idx="15">
                  <c:v>2427.52</c:v>
                </c:pt>
                <c:pt idx="16">
                  <c:v>2347.02</c:v>
                </c:pt>
                <c:pt idx="17">
                  <c:v>2779.14</c:v>
                </c:pt>
                <c:pt idx="18">
                  <c:v>2930.2</c:v>
                </c:pt>
                <c:pt idx="19">
                  <c:v>3253.96</c:v>
                </c:pt>
                <c:pt idx="20">
                  <c:v>2873.46</c:v>
                </c:pt>
                <c:pt idx="21">
                  <c:v>2518.7199999999998</c:v>
                </c:pt>
                <c:pt idx="22">
                  <c:v>4103.41</c:v>
                </c:pt>
                <c:pt idx="23">
                  <c:v>3396.85</c:v>
                </c:pt>
                <c:pt idx="24">
                  <c:v>2819.25</c:v>
                </c:pt>
                <c:pt idx="25">
                  <c:v>2406.09</c:v>
                </c:pt>
                <c:pt idx="26">
                  <c:v>2261.6999999999998</c:v>
                </c:pt>
                <c:pt idx="27">
                  <c:v>2258.41</c:v>
                </c:pt>
                <c:pt idx="28">
                  <c:v>2855.29</c:v>
                </c:pt>
                <c:pt idx="29">
                  <c:v>3146.91</c:v>
                </c:pt>
                <c:pt idx="30">
                  <c:v>4907.96</c:v>
                </c:pt>
                <c:pt idx="31">
                  <c:v>2916.13</c:v>
                </c:pt>
                <c:pt idx="32">
                  <c:v>5649.64</c:v>
                </c:pt>
                <c:pt idx="33">
                  <c:v>3306.74</c:v>
                </c:pt>
                <c:pt idx="34">
                  <c:v>3711.17</c:v>
                </c:pt>
                <c:pt idx="35">
                  <c:v>3916.03</c:v>
                </c:pt>
                <c:pt idx="36">
                  <c:v>4253.71</c:v>
                </c:pt>
                <c:pt idx="37">
                  <c:v>4056.89</c:v>
                </c:pt>
                <c:pt idx="38">
                  <c:v>3539.29</c:v>
                </c:pt>
                <c:pt idx="39">
                  <c:v>3267.88</c:v>
                </c:pt>
                <c:pt idx="40">
                  <c:v>4509.51</c:v>
                </c:pt>
                <c:pt idx="41">
                  <c:v>3311.41</c:v>
                </c:pt>
                <c:pt idx="42">
                  <c:v>2261.7399999999998</c:v>
                </c:pt>
                <c:pt idx="43">
                  <c:v>2750.25</c:v>
                </c:pt>
                <c:pt idx="44">
                  <c:v>3731.01</c:v>
                </c:pt>
                <c:pt idx="45">
                  <c:v>3607.7</c:v>
                </c:pt>
                <c:pt idx="46">
                  <c:v>4284.05</c:v>
                </c:pt>
                <c:pt idx="47">
                  <c:v>4151.75</c:v>
                </c:pt>
                <c:pt idx="48">
                  <c:v>5234.9399999999996</c:v>
                </c:pt>
                <c:pt idx="49">
                  <c:v>4343.2700000000004</c:v>
                </c:pt>
                <c:pt idx="50">
                  <c:v>3832.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439-479B-85F0-B6B7B0DB066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Kotimaahan</c:v>
                </c:pt>
              </c:strCache>
            </c:strRef>
          </c:tx>
          <c:spPr>
            <a:ln w="38100">
              <a:solidFill>
                <a:schemeClr val="accent2"/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  <c:pt idx="49">
                  <c:v>2022,I</c:v>
                </c:pt>
              </c:strCache>
            </c:strRef>
          </c:cat>
          <c:val>
            <c:numRef>
              <c:f>Sheet1!$D$2:$D$54</c:f>
              <c:numCache>
                <c:formatCode>General</c:formatCode>
                <c:ptCount val="53"/>
                <c:pt idx="1">
                  <c:v>569.47</c:v>
                </c:pt>
                <c:pt idx="2">
                  <c:v>696.77</c:v>
                </c:pt>
                <c:pt idx="3">
                  <c:v>498.57</c:v>
                </c:pt>
                <c:pt idx="4">
                  <c:v>966.86</c:v>
                </c:pt>
                <c:pt idx="5">
                  <c:v>1035.5</c:v>
                </c:pt>
                <c:pt idx="6">
                  <c:v>1093.51</c:v>
                </c:pt>
                <c:pt idx="7">
                  <c:v>773.53</c:v>
                </c:pt>
                <c:pt idx="8">
                  <c:v>925.83</c:v>
                </c:pt>
                <c:pt idx="9">
                  <c:v>925.11</c:v>
                </c:pt>
                <c:pt idx="10">
                  <c:v>912.39</c:v>
                </c:pt>
                <c:pt idx="11">
                  <c:v>807.67</c:v>
                </c:pt>
                <c:pt idx="12">
                  <c:v>872.29</c:v>
                </c:pt>
                <c:pt idx="13">
                  <c:v>770.93</c:v>
                </c:pt>
                <c:pt idx="14">
                  <c:v>997.88</c:v>
                </c:pt>
                <c:pt idx="15">
                  <c:v>749.92</c:v>
                </c:pt>
                <c:pt idx="16">
                  <c:v>830.88</c:v>
                </c:pt>
                <c:pt idx="17">
                  <c:v>1098.9000000000001</c:v>
                </c:pt>
                <c:pt idx="18">
                  <c:v>1270.46</c:v>
                </c:pt>
                <c:pt idx="19">
                  <c:v>1640.86</c:v>
                </c:pt>
                <c:pt idx="20">
                  <c:v>1048.78</c:v>
                </c:pt>
                <c:pt idx="21">
                  <c:v>1011.68</c:v>
                </c:pt>
                <c:pt idx="22">
                  <c:v>1426.99</c:v>
                </c:pt>
                <c:pt idx="23">
                  <c:v>805.69</c:v>
                </c:pt>
                <c:pt idx="24">
                  <c:v>1126.73</c:v>
                </c:pt>
                <c:pt idx="25">
                  <c:v>1184.72</c:v>
                </c:pt>
                <c:pt idx="26">
                  <c:v>1073.48</c:v>
                </c:pt>
                <c:pt idx="27">
                  <c:v>927.58</c:v>
                </c:pt>
                <c:pt idx="28">
                  <c:v>1369.15</c:v>
                </c:pt>
                <c:pt idx="29">
                  <c:v>1037.4000000000001</c:v>
                </c:pt>
                <c:pt idx="30">
                  <c:v>1080.44</c:v>
                </c:pt>
                <c:pt idx="31">
                  <c:v>951.68</c:v>
                </c:pt>
                <c:pt idx="32">
                  <c:v>1626.05</c:v>
                </c:pt>
                <c:pt idx="33">
                  <c:v>1583.19</c:v>
                </c:pt>
                <c:pt idx="34">
                  <c:v>1153.46</c:v>
                </c:pt>
                <c:pt idx="35">
                  <c:v>1038.77</c:v>
                </c:pt>
                <c:pt idx="36">
                  <c:v>1374.57</c:v>
                </c:pt>
                <c:pt idx="37">
                  <c:v>1477.81</c:v>
                </c:pt>
                <c:pt idx="38">
                  <c:v>1490.99</c:v>
                </c:pt>
                <c:pt idx="39">
                  <c:v>1614.08</c:v>
                </c:pt>
                <c:pt idx="40">
                  <c:v>1230.3599999999999</c:v>
                </c:pt>
                <c:pt idx="41">
                  <c:v>1148.56</c:v>
                </c:pt>
                <c:pt idx="42">
                  <c:v>1141.47</c:v>
                </c:pt>
                <c:pt idx="43">
                  <c:v>1112.8</c:v>
                </c:pt>
                <c:pt idx="44">
                  <c:v>2017.23</c:v>
                </c:pt>
                <c:pt idx="45">
                  <c:v>1135.92</c:v>
                </c:pt>
                <c:pt idx="46">
                  <c:v>830.51</c:v>
                </c:pt>
                <c:pt idx="47">
                  <c:v>698.67</c:v>
                </c:pt>
                <c:pt idx="48">
                  <c:v>926.74</c:v>
                </c:pt>
                <c:pt idx="49">
                  <c:v>877.08</c:v>
                </c:pt>
                <c:pt idx="50">
                  <c:v>1533.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439-479B-85F0-B6B7B0DB06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9111064"/>
        <c:axId val="369111456"/>
      </c:lineChart>
      <c:catAx>
        <c:axId val="369111064"/>
        <c:scaling>
          <c:orientation val="minMax"/>
        </c:scaling>
        <c:delete val="0"/>
        <c:axPos val="b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General" sourceLinked="1"/>
        <c:majorTickMark val="out"/>
        <c:minorTickMark val="none"/>
        <c:tickLblPos val="none"/>
        <c:spPr>
          <a:ln w="284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948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fi-FI"/>
          </a:p>
        </c:txPr>
        <c:crossAx val="369111456"/>
        <c:crosses val="autoZero"/>
        <c:auto val="1"/>
        <c:lblAlgn val="ctr"/>
        <c:lblOffset val="100"/>
        <c:tickLblSkip val="3"/>
        <c:tickMarkSkip val="4"/>
        <c:noMultiLvlLbl val="0"/>
      </c:catAx>
      <c:valAx>
        <c:axId val="369111456"/>
        <c:scaling>
          <c:orientation val="minMax"/>
          <c:max val="7500"/>
          <c:min val="0"/>
        </c:scaling>
        <c:delete val="0"/>
        <c:axPos val="l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#,##0" sourceLinked="0"/>
        <c:majorTickMark val="out"/>
        <c:minorTickMark val="none"/>
        <c:tickLblPos val="nextTo"/>
        <c:spPr>
          <a:ln w="284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50" b="0" i="0" u="none" strike="noStrike" baseline="0">
                <a:solidFill>
                  <a:schemeClr val="tx2"/>
                </a:solidFill>
                <a:latin typeface="Verdana" panose="020B0604030504040204" pitchFamily="34" charset="0"/>
                <a:ea typeface="Arial"/>
                <a:cs typeface="Arial"/>
              </a:defRPr>
            </a:pPr>
            <a:endParaRPr lang="fi-FI"/>
          </a:p>
        </c:txPr>
        <c:crossAx val="369111064"/>
        <c:crosses val="autoZero"/>
        <c:crossBetween val="midCat"/>
        <c:majorUnit val="500"/>
        <c:minorUnit val="500"/>
      </c:valAx>
      <c:spPr>
        <a:noFill/>
        <a:ln w="11372">
          <a:solidFill>
            <a:schemeClr val="tx1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0.86988108704736133"/>
          <c:y val="0.19757124334097242"/>
          <c:w val="0.13011891295263864"/>
          <c:h val="0.61234378114075594"/>
        </c:manualLayout>
      </c:layout>
      <c:overlay val="0"/>
      <c:spPr>
        <a:solidFill>
          <a:schemeClr val="bg1"/>
        </a:solidFill>
        <a:ln w="2843">
          <a:noFill/>
          <a:prstDash val="solid"/>
        </a:ln>
      </c:spPr>
      <c:txPr>
        <a:bodyPr/>
        <a:lstStyle/>
        <a:p>
          <a:pPr>
            <a:defRPr sz="1050" b="0" i="0" u="none" strike="noStrike" baseline="0">
              <a:solidFill>
                <a:schemeClr val="tx2"/>
              </a:solidFill>
              <a:latin typeface="Verdana" panose="020B0604030504040204" pitchFamily="34" charset="0"/>
              <a:ea typeface="Arial"/>
              <a:cs typeface="Arial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948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fi-FI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334626304515568E-2"/>
          <c:y val="3.3872934059659576E-2"/>
          <c:w val="0.77234394913663618"/>
          <c:h val="0.88516485812511014"/>
        </c:manualLayout>
      </c:layout>
      <c:areaChart>
        <c:grouping val="stack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Kotimaahan </c:v>
                </c:pt>
              </c:strCache>
            </c:strRef>
          </c:tx>
          <c:spPr>
            <a:solidFill>
              <a:schemeClr val="accent2"/>
            </a:solidFill>
            <a:ln w="11167">
              <a:noFill/>
              <a:prstDash val="sysDash"/>
            </a:ln>
          </c:spPr>
          <c:cat>
            <c:strRef>
              <c:f>Sheet1!$A$2:$A$52</c:f>
              <c:strCache>
                <c:ptCount val="50"/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  <c:pt idx="49">
                  <c:v>2022,I</c:v>
                </c:pt>
              </c:strCache>
            </c:strRef>
          </c:cat>
          <c:val>
            <c:numRef>
              <c:f>Sheet1!$B$2:$B$52</c:f>
              <c:numCache>
                <c:formatCode>General</c:formatCode>
                <c:ptCount val="51"/>
                <c:pt idx="0">
                  <c:v>1201.8</c:v>
                </c:pt>
                <c:pt idx="1">
                  <c:v>1163</c:v>
                </c:pt>
                <c:pt idx="2">
                  <c:v>1254.0999999999999</c:v>
                </c:pt>
                <c:pt idx="3">
                  <c:v>1089.0999999999999</c:v>
                </c:pt>
                <c:pt idx="4">
                  <c:v>1396.7</c:v>
                </c:pt>
                <c:pt idx="5">
                  <c:v>1745.6</c:v>
                </c:pt>
                <c:pt idx="6">
                  <c:v>1932.4</c:v>
                </c:pt>
                <c:pt idx="7">
                  <c:v>1875.1</c:v>
                </c:pt>
                <c:pt idx="8">
                  <c:v>1757.8</c:v>
                </c:pt>
                <c:pt idx="9">
                  <c:v>1819.1</c:v>
                </c:pt>
                <c:pt idx="10">
                  <c:v>2076.5</c:v>
                </c:pt>
                <c:pt idx="11">
                  <c:v>1674.7</c:v>
                </c:pt>
                <c:pt idx="12">
                  <c:v>1689.4</c:v>
                </c:pt>
                <c:pt idx="13">
                  <c:v>1475.3</c:v>
                </c:pt>
                <c:pt idx="14">
                  <c:v>1586.2</c:v>
                </c:pt>
                <c:pt idx="15">
                  <c:v>1600</c:v>
                </c:pt>
                <c:pt idx="16">
                  <c:v>1416.2</c:v>
                </c:pt>
                <c:pt idx="17">
                  <c:v>1614.4</c:v>
                </c:pt>
                <c:pt idx="18">
                  <c:v>1700.5</c:v>
                </c:pt>
                <c:pt idx="19">
                  <c:v>2154.3000000000002</c:v>
                </c:pt>
                <c:pt idx="20">
                  <c:v>2228.8000000000002</c:v>
                </c:pt>
                <c:pt idx="21">
                  <c:v>2329.6</c:v>
                </c:pt>
                <c:pt idx="22">
                  <c:v>2453.4</c:v>
                </c:pt>
                <c:pt idx="23">
                  <c:v>2238.3000000000002</c:v>
                </c:pt>
                <c:pt idx="24">
                  <c:v>2259.1999999999998</c:v>
                </c:pt>
                <c:pt idx="25">
                  <c:v>2395.5</c:v>
                </c:pt>
                <c:pt idx="26">
                  <c:v>2300.6</c:v>
                </c:pt>
                <c:pt idx="27">
                  <c:v>2021.7</c:v>
                </c:pt>
                <c:pt idx="28">
                  <c:v>2113.5</c:v>
                </c:pt>
                <c:pt idx="29">
                  <c:v>2104.9</c:v>
                </c:pt>
                <c:pt idx="30">
                  <c:v>2105.1</c:v>
                </c:pt>
                <c:pt idx="31">
                  <c:v>1903.1</c:v>
                </c:pt>
                <c:pt idx="32">
                  <c:v>2117</c:v>
                </c:pt>
                <c:pt idx="33">
                  <c:v>2516.6</c:v>
                </c:pt>
                <c:pt idx="34">
                  <c:v>2363.3000000000002</c:v>
                </c:pt>
                <c:pt idx="35">
                  <c:v>2335.3000000000002</c:v>
                </c:pt>
                <c:pt idx="36">
                  <c:v>2385.3000000000002</c:v>
                </c:pt>
                <c:pt idx="37">
                  <c:v>2572.1</c:v>
                </c:pt>
                <c:pt idx="38">
                  <c:v>2670.6</c:v>
                </c:pt>
                <c:pt idx="39">
                  <c:v>3129.8</c:v>
                </c:pt>
                <c:pt idx="40">
                  <c:v>3025.3</c:v>
                </c:pt>
                <c:pt idx="41">
                  <c:v>3018.5</c:v>
                </c:pt>
                <c:pt idx="42">
                  <c:v>2936</c:v>
                </c:pt>
                <c:pt idx="43">
                  <c:v>2855.4</c:v>
                </c:pt>
                <c:pt idx="44">
                  <c:v>3563.8</c:v>
                </c:pt>
                <c:pt idx="45">
                  <c:v>4168.1000000000004</c:v>
                </c:pt>
                <c:pt idx="46">
                  <c:v>4224</c:v>
                </c:pt>
                <c:pt idx="47">
                  <c:v>4165.3</c:v>
                </c:pt>
                <c:pt idx="48">
                  <c:v>3882.4</c:v>
                </c:pt>
                <c:pt idx="49">
                  <c:v>3923.7</c:v>
                </c:pt>
                <c:pt idx="50">
                  <c:v>4313.8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D9-48DF-B9E2-392C6345A84D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Vientiin 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 w="11167">
              <a:solidFill>
                <a:schemeClr val="accent1">
                  <a:lumMod val="60000"/>
                  <a:lumOff val="40000"/>
                </a:schemeClr>
              </a:solidFill>
              <a:prstDash val="solid"/>
            </a:ln>
          </c:spPr>
          <c:cat>
            <c:strRef>
              <c:f>Sheet1!$A$2:$A$52</c:f>
              <c:strCache>
                <c:ptCount val="50"/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  <c:pt idx="49">
                  <c:v>2022,I</c:v>
                </c:pt>
              </c:strCache>
            </c:strRef>
          </c:cat>
          <c:val>
            <c:numRef>
              <c:f>Sheet1!$C$2:$C$52</c:f>
              <c:numCache>
                <c:formatCode>General</c:formatCode>
                <c:ptCount val="51"/>
                <c:pt idx="0">
                  <c:v>7297.6</c:v>
                </c:pt>
                <c:pt idx="1">
                  <c:v>7015</c:v>
                </c:pt>
                <c:pt idx="2">
                  <c:v>7020.5</c:v>
                </c:pt>
                <c:pt idx="3">
                  <c:v>6950.2</c:v>
                </c:pt>
                <c:pt idx="4">
                  <c:v>5990.5</c:v>
                </c:pt>
                <c:pt idx="5">
                  <c:v>6010.1</c:v>
                </c:pt>
                <c:pt idx="6">
                  <c:v>6775.8</c:v>
                </c:pt>
                <c:pt idx="7">
                  <c:v>7130.4</c:v>
                </c:pt>
                <c:pt idx="8">
                  <c:v>7181.6</c:v>
                </c:pt>
                <c:pt idx="9">
                  <c:v>7273.1</c:v>
                </c:pt>
                <c:pt idx="10">
                  <c:v>6912.2</c:v>
                </c:pt>
                <c:pt idx="11">
                  <c:v>6621.1</c:v>
                </c:pt>
                <c:pt idx="12">
                  <c:v>6937.1</c:v>
                </c:pt>
                <c:pt idx="13">
                  <c:v>7194</c:v>
                </c:pt>
                <c:pt idx="14">
                  <c:v>6941.8</c:v>
                </c:pt>
                <c:pt idx="15">
                  <c:v>6979.8</c:v>
                </c:pt>
                <c:pt idx="16">
                  <c:v>6323.7</c:v>
                </c:pt>
                <c:pt idx="17">
                  <c:v>6863.1</c:v>
                </c:pt>
                <c:pt idx="18">
                  <c:v>6888</c:v>
                </c:pt>
                <c:pt idx="19">
                  <c:v>7499.9</c:v>
                </c:pt>
                <c:pt idx="20">
                  <c:v>7589.3</c:v>
                </c:pt>
                <c:pt idx="21">
                  <c:v>7811.8</c:v>
                </c:pt>
                <c:pt idx="22">
                  <c:v>8769.4</c:v>
                </c:pt>
                <c:pt idx="23">
                  <c:v>9775.6</c:v>
                </c:pt>
                <c:pt idx="24">
                  <c:v>9896.5</c:v>
                </c:pt>
                <c:pt idx="25">
                  <c:v>10074.299999999999</c:v>
                </c:pt>
                <c:pt idx="26">
                  <c:v>9147.4</c:v>
                </c:pt>
                <c:pt idx="27">
                  <c:v>9535.5</c:v>
                </c:pt>
                <c:pt idx="28">
                  <c:v>9511.9</c:v>
                </c:pt>
                <c:pt idx="29">
                  <c:v>10227.700000000001</c:v>
                </c:pt>
                <c:pt idx="30">
                  <c:v>11972.9</c:v>
                </c:pt>
                <c:pt idx="31">
                  <c:v>12241.3</c:v>
                </c:pt>
                <c:pt idx="32">
                  <c:v>14208</c:v>
                </c:pt>
                <c:pt idx="33">
                  <c:v>14471.3</c:v>
                </c:pt>
                <c:pt idx="34">
                  <c:v>14173.4</c:v>
                </c:pt>
                <c:pt idx="35">
                  <c:v>15408.2</c:v>
                </c:pt>
                <c:pt idx="36">
                  <c:v>15947.8</c:v>
                </c:pt>
                <c:pt idx="37">
                  <c:v>16744.3</c:v>
                </c:pt>
                <c:pt idx="38">
                  <c:v>16621.900000000001</c:v>
                </c:pt>
                <c:pt idx="39">
                  <c:v>15810.8</c:v>
                </c:pt>
                <c:pt idx="40">
                  <c:v>15948.6</c:v>
                </c:pt>
                <c:pt idx="41">
                  <c:v>15764.1</c:v>
                </c:pt>
                <c:pt idx="42">
                  <c:v>15281.7</c:v>
                </c:pt>
                <c:pt idx="43">
                  <c:v>14965.1</c:v>
                </c:pt>
                <c:pt idx="44">
                  <c:v>14513.5</c:v>
                </c:pt>
                <c:pt idx="45">
                  <c:v>15192.7</c:v>
                </c:pt>
                <c:pt idx="46">
                  <c:v>16065.2</c:v>
                </c:pt>
                <c:pt idx="47">
                  <c:v>17537.599999999999</c:v>
                </c:pt>
                <c:pt idx="48">
                  <c:v>17722</c:v>
                </c:pt>
                <c:pt idx="49">
                  <c:v>17447.7</c:v>
                </c:pt>
                <c:pt idx="50">
                  <c:v>16731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D9-48DF-B9E2-392C6345A8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72187016"/>
        <c:axId val="372187408"/>
      </c:areaChart>
      <c:catAx>
        <c:axId val="372187016"/>
        <c:scaling>
          <c:orientation val="minMax"/>
        </c:scaling>
        <c:delete val="0"/>
        <c:axPos val="b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General" sourceLinked="1"/>
        <c:majorTickMark val="out"/>
        <c:minorTickMark val="none"/>
        <c:tickLblPos val="none"/>
        <c:spPr>
          <a:ln w="279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82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fi-FI"/>
          </a:p>
        </c:txPr>
        <c:crossAx val="372187408"/>
        <c:crosses val="autoZero"/>
        <c:auto val="1"/>
        <c:lblAlgn val="ctr"/>
        <c:lblOffset val="100"/>
        <c:tickLblSkip val="11"/>
        <c:tickMarkSkip val="4"/>
        <c:noMultiLvlLbl val="0"/>
      </c:catAx>
      <c:valAx>
        <c:axId val="372187408"/>
        <c:scaling>
          <c:orientation val="minMax"/>
          <c:max val="24000"/>
          <c:min val="0"/>
        </c:scaling>
        <c:delete val="0"/>
        <c:axPos val="l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#,##0" sourceLinked="0"/>
        <c:majorTickMark val="out"/>
        <c:minorTickMark val="none"/>
        <c:tickLblPos val="nextTo"/>
        <c:spPr>
          <a:ln w="279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50" b="0" i="0" u="none" strike="noStrike" baseline="0">
                <a:solidFill>
                  <a:schemeClr val="tx2"/>
                </a:solidFill>
                <a:latin typeface="Verdana" panose="020B0604030504040204" pitchFamily="34" charset="0"/>
                <a:ea typeface="Arial"/>
                <a:cs typeface="Arial"/>
              </a:defRPr>
            </a:pPr>
            <a:endParaRPr lang="fi-FI"/>
          </a:p>
        </c:txPr>
        <c:crossAx val="372187016"/>
        <c:crosses val="autoZero"/>
        <c:crossBetween val="midCat"/>
        <c:majorUnit val="2000"/>
        <c:minorUnit val="1000"/>
      </c:valAx>
      <c:spPr>
        <a:noFill/>
        <a:ln w="11167">
          <a:solidFill>
            <a:schemeClr val="tx1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0.85583681758937358"/>
          <c:y val="0.24509898135690952"/>
          <c:w val="0.10993592557816156"/>
          <c:h val="0.5492774381989054"/>
        </c:manualLayout>
      </c:layout>
      <c:overlay val="0"/>
      <c:spPr>
        <a:solidFill>
          <a:schemeClr val="bg1"/>
        </a:solidFill>
        <a:ln w="2792">
          <a:noFill/>
          <a:prstDash val="solid"/>
        </a:ln>
      </c:spPr>
      <c:txPr>
        <a:bodyPr/>
        <a:lstStyle/>
        <a:p>
          <a:pPr>
            <a:defRPr sz="1050" b="0" i="0" u="none" strike="noStrike" baseline="0">
              <a:solidFill>
                <a:schemeClr val="tx2"/>
              </a:solidFill>
              <a:latin typeface="Verdana" panose="020B0604030504040204" pitchFamily="34" charset="0"/>
              <a:ea typeface="Arial"/>
              <a:cs typeface="Arial"/>
            </a:defRPr>
          </a:pPr>
          <a:endParaRPr lang="fi-FI"/>
        </a:p>
      </c:txPr>
    </c:legend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824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fi-FI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r>
              <a:rPr lang="en-US" sz="11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knologiateollisuus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6F2C89C3-1639-C64F-B7DC-4038F10D3C80}" type="slidenum">
              <a: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‹#›</a:t>
            </a:fld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6375265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i-FI" dirty="0"/>
              <a:t>Teknologiateollisuu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B5A0B3B4-F971-4AD3-B530-DE860EFC07D2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248243881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1pPr>
    <a:lvl2pPr marL="339932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2pPr>
    <a:lvl3pPr marL="679871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3pPr>
    <a:lvl4pPr marL="1019807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4pPr>
    <a:lvl5pPr marL="1359744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5pPr>
    <a:lvl6pPr marL="1699681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6pPr>
    <a:lvl7pPr marL="2039614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7pPr>
    <a:lvl8pPr marL="2379548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8pPr>
    <a:lvl9pPr marL="2719486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i-FI" sz="1400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2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596781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269695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4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285755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i-FI" sz="1400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5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2614260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7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114127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8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545540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i-FI" sz="1400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14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68136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26" Type="http://schemas.openxmlformats.org/officeDocument/2006/relationships/image" Target="../media/image27.png"/><Relationship Id="rId39" Type="http://schemas.openxmlformats.org/officeDocument/2006/relationships/image" Target="../media/image40.png"/><Relationship Id="rId21" Type="http://schemas.openxmlformats.org/officeDocument/2006/relationships/image" Target="../media/image22.png"/><Relationship Id="rId34" Type="http://schemas.openxmlformats.org/officeDocument/2006/relationships/image" Target="../media/image35.png"/><Relationship Id="rId42" Type="http://schemas.openxmlformats.org/officeDocument/2006/relationships/image" Target="../media/image43.png"/><Relationship Id="rId47" Type="http://schemas.openxmlformats.org/officeDocument/2006/relationships/image" Target="../media/image48.png"/><Relationship Id="rId50" Type="http://schemas.openxmlformats.org/officeDocument/2006/relationships/image" Target="../media/image51.png"/><Relationship Id="rId55" Type="http://schemas.openxmlformats.org/officeDocument/2006/relationships/image" Target="../media/image56.png"/><Relationship Id="rId7" Type="http://schemas.openxmlformats.org/officeDocument/2006/relationships/image" Target="../media/image8.png"/><Relationship Id="rId2" Type="http://schemas.openxmlformats.org/officeDocument/2006/relationships/tags" Target="../tags/tag12.xml"/><Relationship Id="rId16" Type="http://schemas.openxmlformats.org/officeDocument/2006/relationships/image" Target="../media/image17.png"/><Relationship Id="rId29" Type="http://schemas.openxmlformats.org/officeDocument/2006/relationships/image" Target="../media/image30.png"/><Relationship Id="rId11" Type="http://schemas.openxmlformats.org/officeDocument/2006/relationships/image" Target="../media/image12.png"/><Relationship Id="rId24" Type="http://schemas.openxmlformats.org/officeDocument/2006/relationships/image" Target="../media/image25.png"/><Relationship Id="rId32" Type="http://schemas.openxmlformats.org/officeDocument/2006/relationships/image" Target="../media/image33.png"/><Relationship Id="rId37" Type="http://schemas.openxmlformats.org/officeDocument/2006/relationships/image" Target="../media/image38.png"/><Relationship Id="rId40" Type="http://schemas.openxmlformats.org/officeDocument/2006/relationships/image" Target="../media/image41.png"/><Relationship Id="rId45" Type="http://schemas.openxmlformats.org/officeDocument/2006/relationships/image" Target="../media/image46.png"/><Relationship Id="rId53" Type="http://schemas.openxmlformats.org/officeDocument/2006/relationships/image" Target="../media/image54.png"/><Relationship Id="rId58" Type="http://schemas.openxmlformats.org/officeDocument/2006/relationships/image" Target="../media/image59.png"/><Relationship Id="rId5" Type="http://schemas.openxmlformats.org/officeDocument/2006/relationships/oleObject" Target="../embeddings/oleObject7.bin"/><Relationship Id="rId19" Type="http://schemas.openxmlformats.org/officeDocument/2006/relationships/image" Target="../media/image20.pn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0.png"/><Relationship Id="rId14" Type="http://schemas.openxmlformats.org/officeDocument/2006/relationships/image" Target="../media/image15.png"/><Relationship Id="rId22" Type="http://schemas.openxmlformats.org/officeDocument/2006/relationships/image" Target="../media/image23.png"/><Relationship Id="rId27" Type="http://schemas.openxmlformats.org/officeDocument/2006/relationships/image" Target="../media/image28.png"/><Relationship Id="rId30" Type="http://schemas.openxmlformats.org/officeDocument/2006/relationships/image" Target="../media/image31.png"/><Relationship Id="rId35" Type="http://schemas.openxmlformats.org/officeDocument/2006/relationships/image" Target="../media/image36.png"/><Relationship Id="rId43" Type="http://schemas.openxmlformats.org/officeDocument/2006/relationships/image" Target="../media/image44.png"/><Relationship Id="rId48" Type="http://schemas.openxmlformats.org/officeDocument/2006/relationships/image" Target="../media/image49.png"/><Relationship Id="rId56" Type="http://schemas.openxmlformats.org/officeDocument/2006/relationships/image" Target="../media/image57.png"/><Relationship Id="rId8" Type="http://schemas.openxmlformats.org/officeDocument/2006/relationships/image" Target="../media/image9.png"/><Relationship Id="rId51" Type="http://schemas.openxmlformats.org/officeDocument/2006/relationships/image" Target="../media/image52.png"/><Relationship Id="rId3" Type="http://schemas.openxmlformats.org/officeDocument/2006/relationships/tags" Target="../tags/tag13.xml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5" Type="http://schemas.openxmlformats.org/officeDocument/2006/relationships/image" Target="../media/image26.png"/><Relationship Id="rId33" Type="http://schemas.openxmlformats.org/officeDocument/2006/relationships/image" Target="../media/image34.png"/><Relationship Id="rId38" Type="http://schemas.openxmlformats.org/officeDocument/2006/relationships/image" Target="../media/image39.png"/><Relationship Id="rId46" Type="http://schemas.openxmlformats.org/officeDocument/2006/relationships/image" Target="../media/image47.png"/><Relationship Id="rId59" Type="http://schemas.openxmlformats.org/officeDocument/2006/relationships/image" Target="../media/image60.emf"/><Relationship Id="rId20" Type="http://schemas.openxmlformats.org/officeDocument/2006/relationships/image" Target="../media/image21.png"/><Relationship Id="rId41" Type="http://schemas.openxmlformats.org/officeDocument/2006/relationships/image" Target="../media/image42.png"/><Relationship Id="rId54" Type="http://schemas.openxmlformats.org/officeDocument/2006/relationships/image" Target="../media/image55.png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15" Type="http://schemas.openxmlformats.org/officeDocument/2006/relationships/image" Target="../media/image16.png"/><Relationship Id="rId23" Type="http://schemas.openxmlformats.org/officeDocument/2006/relationships/image" Target="../media/image24.png"/><Relationship Id="rId28" Type="http://schemas.openxmlformats.org/officeDocument/2006/relationships/image" Target="../media/image29.png"/><Relationship Id="rId36" Type="http://schemas.openxmlformats.org/officeDocument/2006/relationships/image" Target="../media/image37.png"/><Relationship Id="rId49" Type="http://schemas.openxmlformats.org/officeDocument/2006/relationships/image" Target="../media/image50.png"/><Relationship Id="rId57" Type="http://schemas.openxmlformats.org/officeDocument/2006/relationships/image" Target="../media/image58.png"/><Relationship Id="rId10" Type="http://schemas.openxmlformats.org/officeDocument/2006/relationships/image" Target="../media/image11.png"/><Relationship Id="rId31" Type="http://schemas.openxmlformats.org/officeDocument/2006/relationships/image" Target="../media/image32.png"/><Relationship Id="rId44" Type="http://schemas.openxmlformats.org/officeDocument/2006/relationships/image" Target="../media/image45.png"/><Relationship Id="rId52" Type="http://schemas.openxmlformats.org/officeDocument/2006/relationships/image" Target="../media/image53.png"/><Relationship Id="rId60" Type="http://schemas.openxmlformats.org/officeDocument/2006/relationships/image" Target="../media/image61.emf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di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Kuva 2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72269" y="1966957"/>
            <a:ext cx="4730093" cy="1172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411044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violetti">
    <p:bg>
      <p:bgPr>
        <a:solidFill>
          <a:srgbClr val="8A0F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4B4512B-9268-4DA6-A4DE-9BAC66E0AE0F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6262288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pinkki">
    <p:bg>
      <p:bgPr>
        <a:solidFill>
          <a:srgbClr val="FF00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4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5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7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AF34066-C849-43D6-AD11-EC5B4E0FCE81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8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80886621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pinkki">
    <p:bg>
      <p:bgPr>
        <a:solidFill>
          <a:srgbClr val="FF00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DAFD31-6E2D-43E4-B45F-A91916303127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50421713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mandariini">
    <p:bg>
      <p:bgPr>
        <a:solidFill>
          <a:srgbClr val="FF8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05A29F8-3631-43D8-937B-CB2D984A1FF3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64181846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mandariini">
    <p:bg>
      <p:bgPr>
        <a:solidFill>
          <a:srgbClr val="FF8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A1FFB15-5351-4C69-B4D2-8C0154A2BCAF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745300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omena">
    <p:bg>
      <p:bgPr>
        <a:solidFill>
          <a:srgbClr val="85E8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B4C9FC2-AB49-4BC7-8E34-F35776C6F0E4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66785004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omena">
    <p:bg>
      <p:bgPr>
        <a:solidFill>
          <a:srgbClr val="85E8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FD90D18-063C-4F97-88EB-7B998FCF1C84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5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982625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sitruuna"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uva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rgbClr val="000000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0F905F96-8735-44CC-A79D-9FF4592D6200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549499557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sitruuna"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4D1D5393-FFB8-4AFB-965F-DF835FFEFFC2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9775427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1F9AB61F-25F5-4BAC-AFD2-7CF6AA8759C3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9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21" name="Tekstin paikkamerkki 2"/>
          <p:cNvSpPr>
            <a:spLocks noGrp="1"/>
          </p:cNvSpPr>
          <p:nvPr>
            <p:ph idx="19"/>
          </p:nvPr>
        </p:nvSpPr>
        <p:spPr>
          <a:xfrm>
            <a:off x="1072800" y="1582404"/>
            <a:ext cx="7171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22" name="Tekstin paikkamerkki 28"/>
          <p:cNvSpPr>
            <a:spLocks noGrp="1"/>
          </p:cNvSpPr>
          <p:nvPr>
            <p:ph type="body" sz="quarter" idx="20" hasCustomPrompt="1"/>
          </p:nvPr>
        </p:nvSpPr>
        <p:spPr>
          <a:xfrm>
            <a:off x="1072800" y="1102950"/>
            <a:ext cx="71712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29016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9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881898"/>
            <a:ext cx="6977283" cy="1165268"/>
          </a:xfrm>
          <a:prstGeom prst="rect">
            <a:avLst/>
          </a:prstGeom>
        </p:spPr>
        <p:txBody>
          <a:bodyPr>
            <a:normAutofit/>
          </a:bodyPr>
          <a:lstStyle>
            <a:lvl1pPr marL="108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6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pää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2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53C366-6A2C-43B9-A437-B827E0484441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4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54039037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2-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4E9C680B-B035-4481-9C89-9B8DCFA07DE9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9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11" name="Tekstin paikkamerkki 2"/>
          <p:cNvSpPr>
            <a:spLocks noGrp="1"/>
          </p:cNvSpPr>
          <p:nvPr>
            <p:ph idx="1"/>
          </p:nvPr>
        </p:nvSpPr>
        <p:spPr>
          <a:xfrm>
            <a:off x="4449254" y="1565735"/>
            <a:ext cx="3499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2" name="Tekstin paikkamerkki 28"/>
          <p:cNvSpPr>
            <a:spLocks noGrp="1"/>
          </p:cNvSpPr>
          <p:nvPr>
            <p:ph type="body" sz="quarter" idx="17" hasCustomPrompt="1"/>
          </p:nvPr>
        </p:nvSpPr>
        <p:spPr>
          <a:xfrm>
            <a:off x="1072800" y="1102950"/>
            <a:ext cx="71712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28" name="Tekstin paikkamerkki 2"/>
          <p:cNvSpPr>
            <a:spLocks noGrp="1"/>
          </p:cNvSpPr>
          <p:nvPr>
            <p:ph idx="19"/>
          </p:nvPr>
        </p:nvSpPr>
        <p:spPr>
          <a:xfrm>
            <a:off x="1072800" y="1582404"/>
            <a:ext cx="3499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253580326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ja kuval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26EC10B7-6068-4592-8DF6-C21B5E169149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8" name="Tekstin paikkamerkki 2"/>
          <p:cNvSpPr>
            <a:spLocks noGrp="1"/>
          </p:cNvSpPr>
          <p:nvPr>
            <p:ph idx="19"/>
          </p:nvPr>
        </p:nvSpPr>
        <p:spPr>
          <a:xfrm>
            <a:off x="1072800" y="1584553"/>
            <a:ext cx="55296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800" y="1104452"/>
            <a:ext cx="5529600" cy="365682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Kuvan paikkamerkki 6"/>
          <p:cNvSpPr>
            <a:spLocks noGrp="1"/>
          </p:cNvSpPr>
          <p:nvPr>
            <p:ph type="pic" sz="quarter" idx="20"/>
          </p:nvPr>
        </p:nvSpPr>
        <p:spPr>
          <a:xfrm>
            <a:off x="6775200" y="0"/>
            <a:ext cx="23688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12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8566840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ja kuval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B470C21F-BEA7-4001-A59E-ED99F75C48EF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19" name="Kuvan paikkamerkki 6"/>
          <p:cNvSpPr>
            <a:spLocks noGrp="1"/>
          </p:cNvSpPr>
          <p:nvPr>
            <p:ph type="pic" sz="quarter" idx="20"/>
          </p:nvPr>
        </p:nvSpPr>
        <p:spPr>
          <a:xfrm>
            <a:off x="5090400" y="0"/>
            <a:ext cx="4053606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8" name="Tekstin paikkamerkki 2"/>
          <p:cNvSpPr>
            <a:spLocks noGrp="1"/>
          </p:cNvSpPr>
          <p:nvPr>
            <p:ph idx="19"/>
          </p:nvPr>
        </p:nvSpPr>
        <p:spPr>
          <a:xfrm>
            <a:off x="1072800" y="1584554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7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800" y="1104452"/>
            <a:ext cx="3844800" cy="365682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03216163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pelkälle kuva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Kuvan paikkamerkki 6"/>
          <p:cNvSpPr>
            <a:spLocks noGrp="1"/>
          </p:cNvSpPr>
          <p:nvPr>
            <p:ph type="pic" sz="quarter" idx="20"/>
          </p:nvPr>
        </p:nvSpPr>
        <p:spPr>
          <a:xfrm>
            <a:off x="0" y="0"/>
            <a:ext cx="91440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6411705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auluko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9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11" name="Tekstin paikkamerkki 2"/>
          <p:cNvSpPr>
            <a:spLocks noGrp="1"/>
          </p:cNvSpPr>
          <p:nvPr>
            <p:ph type="body" sz="quarter" idx="23" hasCustomPrompt="1"/>
          </p:nvPr>
        </p:nvSpPr>
        <p:spPr>
          <a:xfrm>
            <a:off x="2334682" y="4727574"/>
            <a:ext cx="2971717" cy="165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spc="0" baseline="0"/>
            </a:lvl1pPr>
          </a:lstStyle>
          <a:p>
            <a:pPr lvl="0"/>
            <a:r>
              <a:rPr lang="fi-FI" dirty="0"/>
              <a:t>Lähde tähän</a:t>
            </a:r>
          </a:p>
        </p:txBody>
      </p:sp>
      <p:sp>
        <p:nvSpPr>
          <p:cNvPr id="1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799" y="1102950"/>
            <a:ext cx="6868801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20" name="Sisällön paikkamerkki 4"/>
          <p:cNvSpPr>
            <a:spLocks noGrp="1"/>
          </p:cNvSpPr>
          <p:nvPr>
            <p:ph sz="quarter" idx="17"/>
          </p:nvPr>
        </p:nvSpPr>
        <p:spPr>
          <a:xfrm>
            <a:off x="1201739" y="1584200"/>
            <a:ext cx="6739862" cy="3010469"/>
          </a:xfrm>
        </p:spPr>
        <p:txBody>
          <a:bodyPr/>
          <a:lstStyle>
            <a:lvl1pPr marL="241200" indent="-212400">
              <a:buFont typeface="Arial" panose="020B0604020202020204" pitchFamily="34" charset="0"/>
              <a:buChar char="•"/>
              <a:defRPr/>
            </a:lvl1pPr>
            <a:lvl2pPr marL="471332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2pPr>
            <a:lvl3pPr marL="78619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3pPr>
            <a:lvl4pPr marL="110945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4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2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C26F1C2C-1F3D-4324-8DB1-2B3A728EB293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26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</p:spTree>
    <p:extLst>
      <p:ext uri="{BB962C8B-B14F-4D97-AF65-F5344CB8AC3E}">
        <p14:creationId xmlns:p14="http://schemas.microsoft.com/office/powerpoint/2010/main" val="87594283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ja tauluko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7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8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00B1868B-515C-4A84-A79A-DDEC623D6CDB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9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16" name="Tekstin paikkamerkki 2"/>
          <p:cNvSpPr>
            <a:spLocks noGrp="1"/>
          </p:cNvSpPr>
          <p:nvPr>
            <p:ph type="body" sz="quarter" idx="18" hasCustomPrompt="1"/>
          </p:nvPr>
        </p:nvSpPr>
        <p:spPr>
          <a:xfrm>
            <a:off x="2334682" y="4727574"/>
            <a:ext cx="2971717" cy="165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spc="0" baseline="0"/>
            </a:lvl1pPr>
          </a:lstStyle>
          <a:p>
            <a:pPr lvl="0"/>
            <a:r>
              <a:rPr lang="fi-FI" dirty="0"/>
              <a:t>Lähde tähän</a:t>
            </a:r>
          </a:p>
        </p:txBody>
      </p:sp>
      <p:sp>
        <p:nvSpPr>
          <p:cNvPr id="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799" y="1102950"/>
            <a:ext cx="6868801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1" name="Tekstin paikkamerkki 3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13" name="Sisällön paikkamerkki 4"/>
          <p:cNvSpPr>
            <a:spLocks noGrp="1"/>
          </p:cNvSpPr>
          <p:nvPr>
            <p:ph sz="quarter" idx="23" hasCustomPrompt="1"/>
          </p:nvPr>
        </p:nvSpPr>
        <p:spPr>
          <a:xfrm>
            <a:off x="4572001" y="1584200"/>
            <a:ext cx="3369600" cy="289255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71332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2pPr>
            <a:lvl3pPr marL="78619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3pPr>
            <a:lvl4pPr marL="110945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4pPr>
          </a:lstStyle>
          <a:p>
            <a:pPr lvl="0"/>
            <a:r>
              <a:rPr lang="fi-FI" dirty="0"/>
              <a:t>Lisää objekti</a:t>
            </a:r>
          </a:p>
        </p:txBody>
      </p:sp>
      <p:sp>
        <p:nvSpPr>
          <p:cNvPr id="12" name="Tekstin paikkamerkki 2"/>
          <p:cNvSpPr>
            <a:spLocks noGrp="1"/>
          </p:cNvSpPr>
          <p:nvPr>
            <p:ph idx="19"/>
          </p:nvPr>
        </p:nvSpPr>
        <p:spPr>
          <a:xfrm>
            <a:off x="1072800" y="1582404"/>
            <a:ext cx="3499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268738636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isoille tauluko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252000" y="282150"/>
            <a:ext cx="7992000" cy="648000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7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8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E70C97DB-DA9C-4CFA-B970-B8599B25F3E4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9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5" name="Sisällön paikkamerkki 4"/>
          <p:cNvSpPr>
            <a:spLocks noGrp="1"/>
          </p:cNvSpPr>
          <p:nvPr>
            <p:ph sz="quarter" idx="17"/>
          </p:nvPr>
        </p:nvSpPr>
        <p:spPr>
          <a:xfrm>
            <a:off x="381000" y="1103313"/>
            <a:ext cx="8391525" cy="3541712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71332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2pPr>
            <a:lvl3pPr marL="78619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3pPr>
            <a:lvl4pPr marL="110945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4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6" name="Tekstin paikkamerkki 2"/>
          <p:cNvSpPr>
            <a:spLocks noGrp="1"/>
          </p:cNvSpPr>
          <p:nvPr>
            <p:ph type="body" sz="quarter" idx="18" hasCustomPrompt="1"/>
          </p:nvPr>
        </p:nvSpPr>
        <p:spPr>
          <a:xfrm>
            <a:off x="2334682" y="4727574"/>
            <a:ext cx="2971717" cy="165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spc="0" baseline="0"/>
            </a:lvl1pPr>
          </a:lstStyle>
          <a:p>
            <a:pPr lvl="0"/>
            <a:r>
              <a:rPr lang="fi-FI" dirty="0"/>
              <a:t>Lähde tähän</a:t>
            </a:r>
          </a:p>
        </p:txBody>
      </p:sp>
    </p:spTree>
    <p:extLst>
      <p:ext uri="{BB962C8B-B14F-4D97-AF65-F5344CB8AC3E}">
        <p14:creationId xmlns:p14="http://schemas.microsoft.com/office/powerpoint/2010/main" val="106746017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hjä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uva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3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E70C97DB-DA9C-4CFA-B970-B8599B25F3E4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7" name="Tekstin paikkamerkki 3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583285883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8D9E7F89-CFBC-40A6-849E-791F2CE17670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11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913747"/>
            <a:ext cx="7171200" cy="1176411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07341520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valko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4D1D5393-FFB8-4AFB-965F-DF835FFEFFC2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2188674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turkoosi">
    <p:bg>
      <p:bgPr>
        <a:solidFill>
          <a:srgbClr val="0ACF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9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2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D49F65-936D-47C1-B476-B10D0AC9DEC4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4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5695886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THIS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0AD298-CA59-4422-8710-006C3EE08A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242927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0AD298-CA59-4422-8710-006C3EE08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B0157B-4570-4DCB-A111-732D5969D4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0031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18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04465" y="4933765"/>
            <a:ext cx="578213" cy="144215"/>
          </a:xfrm>
        </p:spPr>
        <p:txBody>
          <a:bodyPr wrap="square"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="1" i="0">
                <a:solidFill>
                  <a:srgbClr val="919191"/>
                </a:solidFill>
                <a:latin typeface="Arial Bold"/>
              </a:defRPr>
            </a:lvl1pPr>
          </a:lstStyle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8764" y="57151"/>
            <a:ext cx="8142287" cy="514073"/>
          </a:xfrm>
        </p:spPr>
        <p:txBody>
          <a:bodyPr rIns="0"/>
          <a:lstStyle>
            <a:lvl1pPr>
              <a:defRPr sz="1800" b="1" spc="0">
                <a:latin typeface="+mn-lt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819550065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THIS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0AD298-CA59-4422-8710-006C3EE08A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63369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0AD298-CA59-4422-8710-006C3EE08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B0157B-4570-4DCB-A111-732D5969D4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0031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18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04465" y="4933765"/>
            <a:ext cx="578213" cy="144215"/>
          </a:xfrm>
        </p:spPr>
        <p:txBody>
          <a:bodyPr wrap="square"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="1" i="0">
                <a:solidFill>
                  <a:srgbClr val="919191"/>
                </a:solidFill>
                <a:latin typeface="Arial Bold"/>
              </a:defRPr>
            </a:lvl1pPr>
          </a:lstStyle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8764" y="228877"/>
            <a:ext cx="8618537" cy="285473"/>
          </a:xfrm>
        </p:spPr>
        <p:txBody>
          <a:bodyPr rIns="0"/>
          <a:lstStyle>
            <a:lvl1pPr>
              <a:defRPr sz="1800" b="1" spc="0">
                <a:latin typeface="+mn-lt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601389939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FA322E5-B71D-4377-B689-83E211BD45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371665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FA322E5-B71D-4377-B689-83E211BD45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92097" y="1160411"/>
            <a:ext cx="3637721" cy="886914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spcBef>
                <a:spcPts val="0"/>
              </a:spcBef>
              <a:defRPr sz="2400" spc="-30" baseline="0">
                <a:latin typeface="+mj-lt"/>
              </a:defRPr>
            </a:lvl1pPr>
          </a:lstStyle>
          <a:p>
            <a:pPr lvl="0"/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line</a:t>
            </a:r>
            <a:endParaRPr lang="fi-FI" dirty="0"/>
          </a:p>
          <a:p>
            <a:pPr lvl="0"/>
            <a:r>
              <a:rPr lang="fi-FI" dirty="0"/>
              <a:t>Second </a:t>
            </a:r>
            <a:r>
              <a:rPr lang="fi-FI" dirty="0" err="1"/>
              <a:t>line</a:t>
            </a:r>
            <a:endParaRPr lang="fi-FI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2097" y="2094926"/>
            <a:ext cx="3637721" cy="513532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400" b="0" spc="-30" baseline="0">
                <a:latin typeface="+mn-lt"/>
              </a:defRPr>
            </a:lvl1pPr>
          </a:lstStyle>
          <a:p>
            <a:pPr lvl="0"/>
            <a:r>
              <a:rPr lang="fi-FI" dirty="0"/>
              <a:t>THIS IS A SUBTITLE LINE AND SECOND LINE OF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92097" y="2731031"/>
            <a:ext cx="3637721" cy="513532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050" b="0" i="1" spc="-30" baseline="0">
                <a:latin typeface="+mn-lt"/>
              </a:defRPr>
            </a:lvl1pPr>
          </a:lstStyle>
          <a:p>
            <a:pPr lvl="0"/>
            <a:r>
              <a:rPr lang="fi-FI" dirty="0"/>
              <a:t>THIS IS ANOTHER SUBTITLE LINE E.G. FOR DATE</a:t>
            </a:r>
          </a:p>
        </p:txBody>
      </p:sp>
    </p:spTree>
    <p:extLst>
      <p:ext uri="{BB962C8B-B14F-4D97-AF65-F5344CB8AC3E}">
        <p14:creationId xmlns:p14="http://schemas.microsoft.com/office/powerpoint/2010/main" val="1797033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ADBD48-2A4D-4DFE-A840-1CE2BC41E5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822639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288" imgH="288" progId="TCLayout.ActiveDocument.1">
                  <p:embed/>
                </p:oleObj>
              </mc:Choice>
              <mc:Fallback>
                <p:oleObj name="think-cell Slide" r:id="rId5" imgW="288" imgH="28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ADBD48-2A4D-4DFE-A840-1CE2BC41E5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D21FD4C-0EA6-4506-B4AC-9F911CD102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fi-FI" sz="1800" b="1" i="0" baseline="0" dirty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122991-DF40-428D-8278-DE0B22D4C3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F22EE1-19C0-47B3-AA8E-FB77BD29AC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  <a:p>
            <a:pPr lvl="4"/>
            <a:r>
              <a:rPr lang="fi-FI" dirty="0" err="1"/>
              <a:t>Fif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D32B6D-E343-4575-8379-34AAE525A71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2738828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SE THIS ONE - AL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345580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8419945-10F9-457B-A478-3D5BDAB1A9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fi-FI" sz="21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8764" y="141685"/>
            <a:ext cx="8618537" cy="582104"/>
          </a:xfrm>
        </p:spPr>
        <p:txBody>
          <a:bodyPr wrap="square" lIns="0" tIns="0" rIns="130101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 sz="2100" b="1" i="0">
                <a:solidFill>
                  <a:srgbClr val="000000"/>
                </a:solidFill>
                <a:latin typeface="Arial" panose="020B0604020202020204" pitchFamily="34" charset="0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376E75-BD4C-4462-8334-FA8FCB1878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8367" y="803781"/>
            <a:ext cx="5555456" cy="215504"/>
          </a:xfrm>
        </p:spPr>
        <p:txBody>
          <a:bodyPr/>
          <a:lstStyle>
            <a:lvl1pPr marL="0" indent="0">
              <a:buNone/>
              <a:defRPr sz="1350">
                <a:solidFill>
                  <a:schemeClr val="accent1"/>
                </a:solidFill>
              </a:defRPr>
            </a:lvl1pPr>
          </a:lstStyle>
          <a:p>
            <a:pPr lvl="0"/>
            <a:r>
              <a:rPr lang="fi-FI" dirty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3AE6E4E-0D08-4BE0-B16A-6A251B1152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223" y="1099277"/>
            <a:ext cx="8632031" cy="3525111"/>
          </a:xfrm>
        </p:spPr>
        <p:txBody>
          <a:bodyPr/>
          <a:lstStyle>
            <a:lvl1pPr marL="269081" indent="-269081">
              <a:tabLst>
                <a:tab pos="269081" algn="l"/>
              </a:tabLst>
              <a:defRPr sz="1050">
                <a:solidFill>
                  <a:schemeClr val="tx1"/>
                </a:solidFill>
              </a:defRPr>
            </a:lvl1pPr>
            <a:lvl2pPr marL="538163" indent="-214313">
              <a:buFont typeface="Arial" panose="020B0604020202020204" pitchFamily="34" charset="0"/>
              <a:buChar char="•"/>
              <a:tabLst>
                <a:tab pos="269081" algn="l"/>
              </a:tabLst>
              <a:defRPr sz="1050">
                <a:solidFill>
                  <a:schemeClr val="tx1"/>
                </a:solidFill>
              </a:defRPr>
            </a:lvl2pPr>
            <a:lvl3pPr marL="739379" indent="-269081">
              <a:buFont typeface="Arial" panose="020B0604020202020204" pitchFamily="34" charset="0"/>
              <a:buChar char="•"/>
              <a:tabLst>
                <a:tab pos="269081" algn="l"/>
              </a:tabLst>
              <a:defRPr sz="1050" b="0">
                <a:solidFill>
                  <a:schemeClr val="tx1"/>
                </a:solidFill>
              </a:defRPr>
            </a:lvl3pPr>
            <a:lvl4pPr marL="941785" indent="-269081">
              <a:tabLst>
                <a:tab pos="201216" algn="l"/>
              </a:tabLst>
              <a:defRPr sz="1050" b="0">
                <a:solidFill>
                  <a:schemeClr val="tx1"/>
                </a:solidFill>
              </a:defRPr>
            </a:lvl4pPr>
            <a:lvl5pPr marL="269081" indent="-269081">
              <a:tabLst>
                <a:tab pos="269081" algn="l"/>
              </a:tabLst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8473584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61E4BDAF-34B7-4244-A21A-1B4987C551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431293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288" imgH="288" progId="TCLayout.ActiveDocument.1">
                  <p:embed/>
                </p:oleObj>
              </mc:Choice>
              <mc:Fallback>
                <p:oleObj name="think-cell Slide" r:id="rId5" imgW="288" imgH="288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61E4BDAF-34B7-4244-A21A-1B4987C55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003D4688-7EA2-4634-A456-D69C3FBD87C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45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Freeform 11"/>
          <p:cNvSpPr>
            <a:spLocks noEditPoints="1"/>
          </p:cNvSpPr>
          <p:nvPr userDrawn="1"/>
        </p:nvSpPr>
        <p:spPr bwMode="auto">
          <a:xfrm>
            <a:off x="0" y="111126"/>
            <a:ext cx="4751388" cy="4927600"/>
          </a:xfrm>
          <a:custGeom>
            <a:avLst/>
            <a:gdLst>
              <a:gd name="T0" fmla="*/ 45 w 2993"/>
              <a:gd name="T1" fmla="*/ 67 h 3104"/>
              <a:gd name="T2" fmla="*/ 2948 w 2993"/>
              <a:gd name="T3" fmla="*/ 1243 h 3104"/>
              <a:gd name="T4" fmla="*/ 2948 w 2993"/>
              <a:gd name="T5" fmla="*/ 1861 h 3104"/>
              <a:gd name="T6" fmla="*/ 45 w 2993"/>
              <a:gd name="T7" fmla="*/ 3038 h 3104"/>
              <a:gd name="T8" fmla="*/ 45 w 2993"/>
              <a:gd name="T9" fmla="*/ 2458 h 3104"/>
              <a:gd name="T10" fmla="*/ 2174 w 2993"/>
              <a:gd name="T11" fmla="*/ 1594 h 3104"/>
              <a:gd name="T12" fmla="*/ 2278 w 2993"/>
              <a:gd name="T13" fmla="*/ 1554 h 3104"/>
              <a:gd name="T14" fmla="*/ 2174 w 2993"/>
              <a:gd name="T15" fmla="*/ 1511 h 3104"/>
              <a:gd name="T16" fmla="*/ 45 w 2993"/>
              <a:gd name="T17" fmla="*/ 647 h 3104"/>
              <a:gd name="T18" fmla="*/ 45 w 2993"/>
              <a:gd name="T19" fmla="*/ 67 h 3104"/>
              <a:gd name="T20" fmla="*/ 0 w 2993"/>
              <a:gd name="T21" fmla="*/ 0 h 3104"/>
              <a:gd name="T22" fmla="*/ 0 w 2993"/>
              <a:gd name="T23" fmla="*/ 678 h 3104"/>
              <a:gd name="T24" fmla="*/ 2157 w 2993"/>
              <a:gd name="T25" fmla="*/ 1554 h 3104"/>
              <a:gd name="T26" fmla="*/ 0 w 2993"/>
              <a:gd name="T27" fmla="*/ 2427 h 3104"/>
              <a:gd name="T28" fmla="*/ 0 w 2993"/>
              <a:gd name="T29" fmla="*/ 3104 h 3104"/>
              <a:gd name="T30" fmla="*/ 2993 w 2993"/>
              <a:gd name="T31" fmla="*/ 1892 h 3104"/>
              <a:gd name="T32" fmla="*/ 2993 w 2993"/>
              <a:gd name="T33" fmla="*/ 1213 h 3104"/>
              <a:gd name="T34" fmla="*/ 0 w 2993"/>
              <a:gd name="T35" fmla="*/ 0 h 3104"/>
              <a:gd name="T36" fmla="*/ 0 w 2993"/>
              <a:gd name="T37" fmla="*/ 0 h 3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993" h="3104">
                <a:moveTo>
                  <a:pt x="45" y="67"/>
                </a:moveTo>
                <a:lnTo>
                  <a:pt x="2948" y="1243"/>
                </a:lnTo>
                <a:lnTo>
                  <a:pt x="2948" y="1861"/>
                </a:lnTo>
                <a:lnTo>
                  <a:pt x="45" y="3038"/>
                </a:lnTo>
                <a:lnTo>
                  <a:pt x="45" y="2458"/>
                </a:lnTo>
                <a:lnTo>
                  <a:pt x="2174" y="1594"/>
                </a:lnTo>
                <a:lnTo>
                  <a:pt x="2278" y="1554"/>
                </a:lnTo>
                <a:lnTo>
                  <a:pt x="2174" y="1511"/>
                </a:lnTo>
                <a:lnTo>
                  <a:pt x="45" y="647"/>
                </a:lnTo>
                <a:lnTo>
                  <a:pt x="45" y="67"/>
                </a:lnTo>
                <a:moveTo>
                  <a:pt x="0" y="0"/>
                </a:moveTo>
                <a:lnTo>
                  <a:pt x="0" y="678"/>
                </a:lnTo>
                <a:lnTo>
                  <a:pt x="2157" y="1554"/>
                </a:lnTo>
                <a:lnTo>
                  <a:pt x="0" y="2427"/>
                </a:lnTo>
                <a:lnTo>
                  <a:pt x="0" y="3104"/>
                </a:lnTo>
                <a:lnTo>
                  <a:pt x="2993" y="1892"/>
                </a:lnTo>
                <a:lnTo>
                  <a:pt x="2993" y="1213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 sz="1800" dirty="0"/>
          </a:p>
        </p:txBody>
      </p:sp>
      <p:pic>
        <p:nvPicPr>
          <p:cNvPr id="2" name="GTS_Technology_DIMENSIONAL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9" name="GTS_Technology_KEYLINE_darkBG" hidden="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4" name="GTS_Technology_KEYLINE_lightBG" hidden="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7" name="GTS_Technology_GRADIENT_darkBG" hidden="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3" name="GTS_Technology_GRADIENT_lightBG" hidden="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98" name="Acc_TechnologyBLACK" hidden="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49" y="245745"/>
            <a:ext cx="2571743" cy="448221"/>
          </a:xfrm>
          <a:prstGeom prst="rect">
            <a:avLst/>
          </a:prstGeom>
        </p:spPr>
      </p:pic>
      <p:pic>
        <p:nvPicPr>
          <p:cNvPr id="99" name="Acc_TechnologyWHITE" hidden="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50" y="237173"/>
            <a:ext cx="2571967" cy="462048"/>
          </a:xfrm>
          <a:prstGeom prst="rect">
            <a:avLst/>
          </a:prstGeom>
        </p:spPr>
      </p:pic>
      <p:pic>
        <p:nvPicPr>
          <p:cNvPr id="13" name="GTS_Strategy_GRADIENT_darkBG" hidden="1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0" name="GTS_Strategy_GRADIENT_lightBG" hidden="1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2" name="GTS_Strategy_DIMENSIONAL_darkBG" hidden="1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5" name="GTS_Strategy_DIMENSIONAL_lightBG" hidden="1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01" name="Acc_StrategyWHITE" hidden="1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4" y="264363"/>
            <a:ext cx="2219990" cy="400856"/>
          </a:xfrm>
          <a:prstGeom prst="rect">
            <a:avLst/>
          </a:prstGeom>
        </p:spPr>
      </p:pic>
      <p:pic>
        <p:nvPicPr>
          <p:cNvPr id="20" name="GTS_Operations_KEYLINE_darkBG" hidden="1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7" name="GTS_Operations_KEYLINE_lightBG" hidden="1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9" name="GTS_Operations_GRADIENT_darkBG" hidden="1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6" name="GTS_Operations_GRADIENT_lightBG" hidden="1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5" name="GTS_Operations_DIMENSIONAL" hidden="1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02" name="Acc_OperationsWHITE" hidden="1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1203" y="248023"/>
            <a:ext cx="2467235" cy="445500"/>
          </a:xfrm>
          <a:prstGeom prst="rect">
            <a:avLst/>
          </a:prstGeom>
        </p:spPr>
      </p:pic>
      <p:pic>
        <p:nvPicPr>
          <p:cNvPr id="105" name="Acc_OperationsBLACK" hidden="1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2154" y="242888"/>
            <a:ext cx="2459804" cy="444158"/>
          </a:xfrm>
          <a:prstGeom prst="rect">
            <a:avLst/>
          </a:prstGeom>
        </p:spPr>
      </p:pic>
      <p:pic>
        <p:nvPicPr>
          <p:cNvPr id="106" name="Acc_MobilityBLACK" hidden="1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4" y="401829"/>
            <a:ext cx="2571656" cy="395759"/>
          </a:xfrm>
          <a:prstGeom prst="rect">
            <a:avLst/>
          </a:prstGeom>
        </p:spPr>
      </p:pic>
      <p:pic>
        <p:nvPicPr>
          <p:cNvPr id="107" name="Acc_MobilityWHITE" hidden="1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4" y="401828"/>
            <a:ext cx="2574401" cy="396900"/>
          </a:xfrm>
          <a:prstGeom prst="rect">
            <a:avLst/>
          </a:prstGeom>
        </p:spPr>
      </p:pic>
      <p:pic>
        <p:nvPicPr>
          <p:cNvPr id="108" name="Acc_InteractiveBLACK" hidden="1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5" y="404497"/>
            <a:ext cx="2581436" cy="389240"/>
          </a:xfrm>
          <a:prstGeom prst="rect">
            <a:avLst/>
          </a:prstGeom>
        </p:spPr>
      </p:pic>
      <p:pic>
        <p:nvPicPr>
          <p:cNvPr id="109" name="Acc_InteractiveWHITE" hidden="1"/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5" y="404498"/>
            <a:ext cx="2578836" cy="388800"/>
          </a:xfrm>
          <a:prstGeom prst="rect">
            <a:avLst/>
          </a:prstGeom>
        </p:spPr>
      </p:pic>
      <p:pic>
        <p:nvPicPr>
          <p:cNvPr id="110" name="Acc_AnalyticsBLACK" hidden="1"/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49" y="402275"/>
            <a:ext cx="2570702" cy="396453"/>
          </a:xfrm>
          <a:prstGeom prst="rect">
            <a:avLst/>
          </a:prstGeom>
        </p:spPr>
      </p:pic>
      <p:pic>
        <p:nvPicPr>
          <p:cNvPr id="111" name="Acc_AnalyticsWHITE" hidden="1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50" y="402275"/>
            <a:ext cx="2581436" cy="396900"/>
          </a:xfrm>
          <a:prstGeom prst="rect">
            <a:avLst/>
          </a:prstGeom>
        </p:spPr>
      </p:pic>
      <p:pic>
        <p:nvPicPr>
          <p:cNvPr id="24" name="GTS_Digital_KEYLINE_darkBG" hidden="1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3" name="GTS_Digital_KEYLINE_lightBG" hidden="1"/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5" name="GTS_Digital_GRADIENT_darkBG" hidden="1"/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2" name="GTS_Digital_GRADIENT_lightBG" hidden="1"/>
          <p:cNvPicPr>
            <a:picLocks noChangeAspect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6" name="GTS_Digital_DIMENSIONAL_darkBG" hidden="1"/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1" name="GTS_Digital_DIMENSIONAL_lightBG" hidden="1"/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12" name="Acc_DigitalWHITE" hidden="1"/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81954"/>
            <a:ext cx="1935692" cy="374979"/>
          </a:xfrm>
          <a:prstGeom prst="rect">
            <a:avLst/>
          </a:prstGeom>
        </p:spPr>
      </p:pic>
      <p:pic>
        <p:nvPicPr>
          <p:cNvPr id="113" name="Acc_DigitalBLACK" hidden="1"/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82247"/>
            <a:ext cx="1933787" cy="374732"/>
          </a:xfrm>
          <a:prstGeom prst="rect">
            <a:avLst/>
          </a:prstGeom>
        </p:spPr>
      </p:pic>
      <p:pic>
        <p:nvPicPr>
          <p:cNvPr id="35" name="GTS_Consulting_KEYLINE_darkBG" hidden="1"/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30" name="GTS_Consulting_KEYLINE_lightBG" hidden="1"/>
          <p:cNvPicPr>
            <a:picLocks noChangeAspect="1"/>
          </p:cNvPicPr>
          <p:nvPr userDrawn="1"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34" name="GTS_Consulting_GRADIENT_darkBG" hidden="1"/>
          <p:cNvPicPr>
            <a:picLocks noChangeAspect="1"/>
          </p:cNvPicPr>
          <p:nvPr userDrawn="1"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9" name="GTS_Consulting_GRADIENT_lightBG" hidden="1"/>
          <p:cNvPicPr>
            <a:picLocks noChangeAspect="1"/>
          </p:cNvPicPr>
          <p:nvPr userDrawn="1"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8" name="GTS_Consulting_DIMENSIONAL" hidden="1"/>
          <p:cNvPicPr>
            <a:picLocks noChangeAspect="1"/>
          </p:cNvPicPr>
          <p:nvPr userDrawn="1"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14" name="Acc_ConsultingWHITE" hidden="1"/>
          <p:cNvPicPr>
            <a:picLocks noChangeAspect="1"/>
          </p:cNvPicPr>
          <p:nvPr userDrawn="1"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52563"/>
            <a:ext cx="2419160" cy="434123"/>
          </a:xfrm>
          <a:prstGeom prst="rect">
            <a:avLst/>
          </a:prstGeom>
        </p:spPr>
      </p:pic>
      <p:pic>
        <p:nvPicPr>
          <p:cNvPr id="115" name="Acc_ConsultingBLACK" hidden="1"/>
          <p:cNvPicPr>
            <a:picLocks noChangeAspect="1"/>
          </p:cNvPicPr>
          <p:nvPr userDrawn="1"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76584"/>
            <a:ext cx="2419160" cy="380366"/>
          </a:xfrm>
          <a:prstGeom prst="rect">
            <a:avLst/>
          </a:prstGeom>
        </p:spPr>
      </p:pic>
      <p:pic>
        <p:nvPicPr>
          <p:cNvPr id="52" name="GTS_Master_GRADIENT_09" hidden="1"/>
          <p:cNvPicPr>
            <a:picLocks noChangeAspect="1"/>
          </p:cNvPicPr>
          <p:nvPr userDrawn="1"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3" name="GTS_Master_GRADIENT_08" hidden="1"/>
          <p:cNvPicPr>
            <a:picLocks noChangeAspect="1"/>
          </p:cNvPicPr>
          <p:nvPr userDrawn="1"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4" name="GTS_Master_GRADIENT_07" hidden="1"/>
          <p:cNvPicPr>
            <a:picLocks noChangeAspect="1"/>
          </p:cNvPicPr>
          <p:nvPr userDrawn="1"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5" name="GTS_Master_GRADIENT_06" hidden="1"/>
          <p:cNvPicPr>
            <a:picLocks noChangeAspect="1"/>
          </p:cNvPicPr>
          <p:nvPr userDrawn="1"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6" name="GTS_Master_DIMENSIONAL_08" hidden="1"/>
          <p:cNvPicPr>
            <a:picLocks noChangeAspect="1"/>
          </p:cNvPicPr>
          <p:nvPr userDrawn="1"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7" name="GTS_Master_DIMENSIONAL_07" hidden="1"/>
          <p:cNvPicPr>
            <a:picLocks noChangeAspect="1"/>
          </p:cNvPicPr>
          <p:nvPr userDrawn="1"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8" name="GTS_Master_DIMENSIONAL_04" hidden="1"/>
          <p:cNvPicPr>
            <a:picLocks noChangeAspect="1"/>
          </p:cNvPicPr>
          <p:nvPr userDrawn="1"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9" name="GTS_Master_TWO-TONE_05" hidden="1"/>
          <p:cNvPicPr>
            <a:picLocks noChangeAspect="1"/>
          </p:cNvPicPr>
          <p:nvPr userDrawn="1"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0" name="GTS_Master_TWO-TONE_04" hidden="1"/>
          <p:cNvPicPr>
            <a:picLocks noChangeAspect="1"/>
          </p:cNvPicPr>
          <p:nvPr userDrawn="1"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1" name="GTS_Master_TWO-TONE_03" hidden="1"/>
          <p:cNvPicPr>
            <a:picLocks noChangeAspect="1"/>
          </p:cNvPicPr>
          <p:nvPr userDrawn="1"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2" name="GTS_Master_TWO-TONE_02" hidden="1"/>
          <p:cNvPicPr>
            <a:picLocks noChangeAspect="1"/>
          </p:cNvPicPr>
          <p:nvPr userDrawn="1"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3" name="GTS_Master_TWO-TONE_01" hidden="1"/>
          <p:cNvPicPr>
            <a:picLocks noChangeAspect="1"/>
          </p:cNvPicPr>
          <p:nvPr userDrawn="1"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grpSp>
        <p:nvGrpSpPr>
          <p:cNvPr id="46" name="Acc_MasterWHITE" hidden="1"/>
          <p:cNvGrpSpPr>
            <a:grpSpLocks noChangeAspect="1"/>
          </p:cNvGrpSpPr>
          <p:nvPr userDrawn="1"/>
        </p:nvGrpSpPr>
        <p:grpSpPr>
          <a:xfrm>
            <a:off x="5813243" y="283293"/>
            <a:ext cx="1248156" cy="335021"/>
            <a:chOff x="9638475" y="1219200"/>
            <a:chExt cx="1389888" cy="373063"/>
          </a:xfrm>
        </p:grpSpPr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5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38475" y="1372165"/>
              <a:ext cx="1389888" cy="220098"/>
            </a:xfrm>
            <a:prstGeom prst="rect">
              <a:avLst/>
            </a:prstGeom>
          </p:spPr>
        </p:pic>
        <p:sp>
          <p:nvSpPr>
            <p:cNvPr id="48" name="Freeform 5"/>
            <p:cNvSpPr>
              <a:spLocks/>
            </p:cNvSpPr>
            <p:nvPr/>
          </p:nvSpPr>
          <p:spPr bwMode="auto">
            <a:xfrm>
              <a:off x="10448925" y="1219200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05" dirty="0"/>
            </a:p>
          </p:txBody>
        </p:sp>
      </p:grpSp>
      <p:grpSp>
        <p:nvGrpSpPr>
          <p:cNvPr id="49" name="Acc_MasterBLACK" hidden="1"/>
          <p:cNvGrpSpPr>
            <a:grpSpLocks noChangeAspect="1"/>
          </p:cNvGrpSpPr>
          <p:nvPr userDrawn="1"/>
        </p:nvGrpSpPr>
        <p:grpSpPr>
          <a:xfrm>
            <a:off x="5813243" y="283293"/>
            <a:ext cx="1248156" cy="335021"/>
            <a:chOff x="9563100" y="1673029"/>
            <a:chExt cx="1389888" cy="373063"/>
          </a:xfrm>
        </p:grpSpPr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6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51" name="Freeform 5"/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70E6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05" dirty="0"/>
            </a:p>
          </p:txBody>
        </p:sp>
      </p:grpSp>
      <p:sp>
        <p:nvSpPr>
          <p:cNvPr id="6" name="SubTitle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290828" y="3805392"/>
            <a:ext cx="2892247" cy="780896"/>
          </a:xfrm>
        </p:spPr>
        <p:txBody>
          <a:bodyPr anchor="b"/>
          <a:lstStyle>
            <a:lvl1pPr marL="0" indent="0">
              <a:lnSpc>
                <a:spcPct val="80000"/>
              </a:lnSpc>
              <a:buNone/>
              <a:defRPr sz="1500" b="0" i="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fi-FI" dirty="0"/>
              <a:t>SUBTITLE LINE</a:t>
            </a:r>
            <a:br>
              <a:rPr lang="fi-FI" dirty="0"/>
            </a:br>
            <a:r>
              <a:rPr lang="fi-FI" dirty="0"/>
              <a:t>SECOND LINE</a:t>
            </a:r>
          </a:p>
        </p:txBody>
      </p:sp>
      <p:sp>
        <p:nvSpPr>
          <p:cNvPr id="8" name="MasterTitle"/>
          <p:cNvSpPr>
            <a:spLocks noGrp="1"/>
          </p:cNvSpPr>
          <p:nvPr userDrawn="1">
            <p:ph type="title" hasCustomPrompt="1"/>
          </p:nvPr>
        </p:nvSpPr>
        <p:spPr>
          <a:xfrm>
            <a:off x="5287018" y="1388745"/>
            <a:ext cx="3524842" cy="2377427"/>
          </a:xfrm>
        </p:spPr>
        <p:txBody>
          <a:bodyPr tIns="252000" anchor="ctr"/>
          <a:lstStyle>
            <a:lvl1pPr>
              <a:lnSpc>
                <a:spcPct val="70000"/>
              </a:lnSpc>
              <a:defRPr sz="4500" spc="-113" baseline="0">
                <a:solidFill>
                  <a:schemeClr val="tx1"/>
                </a:solidFill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</a:t>
            </a:r>
            <a:br>
              <a:rPr lang="fi-FI" dirty="0"/>
            </a:br>
            <a:r>
              <a:rPr lang="fi-FI" dirty="0"/>
              <a:t>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177554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320">
          <p15:clr>
            <a:srgbClr val="5ACBF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di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Kuva 2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72270" y="1966957"/>
            <a:ext cx="4730093" cy="1172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068013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turkoosi">
    <p:bg>
      <p:bgPr>
        <a:solidFill>
          <a:srgbClr val="0ACF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E114E9B-AF34-462B-9107-FB4A4FE20955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3052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0552848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petroli">
    <p:bg>
      <p:bgPr>
        <a:solidFill>
          <a:srgbClr val="0F78B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7D0C29F-D373-4791-88C9-86C29F06AD83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74770107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petroli">
    <p:bg>
      <p:bgPr>
        <a:solidFill>
          <a:srgbClr val="0F78B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C870B0A-5FAA-48CC-9422-68AAC5A5CADB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11" name="Tekstin paikkamerkki 2"/>
          <p:cNvSpPr>
            <a:spLocks noGrp="1"/>
          </p:cNvSpPr>
          <p:nvPr>
            <p:ph idx="21"/>
          </p:nvPr>
        </p:nvSpPr>
        <p:spPr>
          <a:xfrm>
            <a:off x="1072800" y="1584884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2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4742819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sininen">
    <p:bg>
      <p:bgPr>
        <a:solidFill>
          <a:srgbClr val="141F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3A50D0A-99B9-48FE-8B08-047EE10ADBDA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062311651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sininen">
    <p:bg>
      <p:bgPr>
        <a:solidFill>
          <a:srgbClr val="141F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EF2A4B-BD6C-442B-B37A-933F3A2F5101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8139381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violetti">
    <p:bg>
      <p:bgPr>
        <a:solidFill>
          <a:srgbClr val="8A0F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A3CBEF-2865-4434-A020-1FAA7DCEF42D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3050194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4.emf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34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33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282027" y="4728047"/>
            <a:ext cx="919711" cy="163042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7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1B16F53B-7158-4458-A0D4-1436C88C6842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8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1111307" y="4728047"/>
            <a:ext cx="1296094" cy="163042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7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i-FI" dirty="0"/>
              <a:t>Teknologiateollisuus</a:t>
            </a:r>
          </a:p>
        </p:txBody>
      </p:sp>
      <p:sp>
        <p:nvSpPr>
          <p:cNvPr id="26" name="Tekstin paikkamerkki 3"/>
          <p:cNvSpPr>
            <a:spLocks noGrp="1"/>
          </p:cNvSpPr>
          <p:nvPr>
            <p:ph type="body" idx="1"/>
          </p:nvPr>
        </p:nvSpPr>
        <p:spPr>
          <a:xfrm>
            <a:off x="1072801" y="1583532"/>
            <a:ext cx="7171199" cy="28932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27" name="Otsikon paikkamerkki 2"/>
          <p:cNvSpPr>
            <a:spLocks noGrp="1"/>
          </p:cNvSpPr>
          <p:nvPr>
            <p:ph type="title"/>
          </p:nvPr>
        </p:nvSpPr>
        <p:spPr>
          <a:xfrm>
            <a:off x="1072801" y="1102950"/>
            <a:ext cx="7171199" cy="36718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3" name="Dian numeron paikkamerkki 1"/>
          <p:cNvSpPr>
            <a:spLocks noGrp="1"/>
          </p:cNvSpPr>
          <p:nvPr>
            <p:ph type="sldNum" sz="quarter" idx="4"/>
          </p:nvPr>
        </p:nvSpPr>
        <p:spPr>
          <a:xfrm>
            <a:off x="8005977" y="4729163"/>
            <a:ext cx="863990" cy="16668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29942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1" r:id="rId2"/>
    <p:sldLayoutId id="2147483664" r:id="rId3"/>
    <p:sldLayoutId id="2147483679" r:id="rId4"/>
    <p:sldLayoutId id="2147483665" r:id="rId5"/>
    <p:sldLayoutId id="2147483681" r:id="rId6"/>
    <p:sldLayoutId id="2147483666" r:id="rId7"/>
    <p:sldLayoutId id="2147483682" r:id="rId8"/>
    <p:sldLayoutId id="2147483667" r:id="rId9"/>
    <p:sldLayoutId id="2147483683" r:id="rId10"/>
    <p:sldLayoutId id="2147483668" r:id="rId11"/>
    <p:sldLayoutId id="2147483684" r:id="rId12"/>
    <p:sldLayoutId id="2147483669" r:id="rId13"/>
    <p:sldLayoutId id="2147483685" r:id="rId14"/>
    <p:sldLayoutId id="2147483670" r:id="rId15"/>
    <p:sldLayoutId id="2147483686" r:id="rId16"/>
    <p:sldLayoutId id="2147483671" r:id="rId17"/>
    <p:sldLayoutId id="2147483687" r:id="rId18"/>
    <p:sldLayoutId id="2147483702" r:id="rId19"/>
    <p:sldLayoutId id="2147483704" r:id="rId20"/>
    <p:sldLayoutId id="2147483680" r:id="rId21"/>
    <p:sldLayoutId id="2147483674" r:id="rId22"/>
    <p:sldLayoutId id="2147483691" r:id="rId23"/>
    <p:sldLayoutId id="2147483700" r:id="rId24"/>
    <p:sldLayoutId id="2147483696" r:id="rId25"/>
    <p:sldLayoutId id="2147483673" r:id="rId26"/>
    <p:sldLayoutId id="2147483703" r:id="rId27"/>
    <p:sldLayoutId id="2147483707" r:id="rId28"/>
    <p:sldLayoutId id="2147483708" r:id="rId29"/>
  </p:sldLayoutIdLst>
  <p:transition spd="med">
    <p:fade/>
  </p:transition>
  <p:hf hdr="0"/>
  <p:txStyles>
    <p:titleStyle>
      <a:lvl1pPr marL="14400" algn="l" defTabSz="806052" rtl="0" eaLnBrk="1" latinLnBrk="0" hangingPunct="1">
        <a:lnSpc>
          <a:spcPts val="2700"/>
        </a:lnSpc>
        <a:spcBef>
          <a:spcPts val="0"/>
        </a:spcBef>
        <a:spcAft>
          <a:spcPts val="0"/>
        </a:spcAft>
        <a:buNone/>
        <a:defRPr sz="2200" b="1" kern="1200" spc="-35" baseline="0">
          <a:solidFill>
            <a:srgbClr val="000000"/>
          </a:solidFill>
          <a:latin typeface="+mj-lt"/>
          <a:ea typeface="Adobe Fan Heiti Std B" panose="020B0700000000000000" pitchFamily="34" charset="-128"/>
          <a:cs typeface="Adobe Hebrew" panose="02040503050201020203" pitchFamily="18" charset="-79"/>
        </a:defRPr>
      </a:lvl1pPr>
    </p:titleStyle>
    <p:bodyStyle>
      <a:lvl1pPr marL="234000" indent="-212400" algn="l" defTabSz="806052" rtl="0" eaLnBrk="1" latinLnBrk="0" hangingPunct="1">
        <a:lnSpc>
          <a:spcPts val="2000"/>
        </a:lnSpc>
        <a:spcBef>
          <a:spcPts val="400"/>
        </a:spcBef>
        <a:spcAft>
          <a:spcPts val="300"/>
        </a:spcAft>
        <a:buClrTx/>
        <a:buSzPct val="125000"/>
        <a:buFont typeface="Arial" panose="020B0604020202020204" pitchFamily="34" charset="0"/>
        <a:buChar char="•"/>
        <a:defRPr sz="160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29732" indent="-158400" algn="l" defTabSz="806052" rtl="0" eaLnBrk="1" latinLnBrk="0" hangingPunct="1">
        <a:lnSpc>
          <a:spcPts val="1800"/>
        </a:lnSpc>
        <a:spcBef>
          <a:spcPts val="200"/>
        </a:spcBef>
        <a:spcAft>
          <a:spcPts val="200"/>
        </a:spcAft>
        <a:buClrTx/>
        <a:buSzPct val="125000"/>
        <a:buFont typeface="Arial" pitchFamily="34" charset="0"/>
        <a:buChar char="–"/>
        <a:defRPr sz="130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944591" indent="-158400" algn="l" defTabSz="806052" rtl="0" eaLnBrk="1" latinLnBrk="0" hangingPunct="1">
        <a:lnSpc>
          <a:spcPts val="1800"/>
        </a:lnSpc>
        <a:spcBef>
          <a:spcPts val="200"/>
        </a:spcBef>
        <a:spcAft>
          <a:spcPts val="200"/>
        </a:spcAft>
        <a:buClrTx/>
        <a:buSzPct val="125000"/>
        <a:buFont typeface="Arial" panose="020B0604020202020204" pitchFamily="34" charset="0"/>
        <a:buChar char="•"/>
        <a:defRPr sz="105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267851" indent="-158400" algn="l" defTabSz="806052" rtl="0" eaLnBrk="1" latinLnBrk="0" hangingPunct="1">
        <a:lnSpc>
          <a:spcPts val="1800"/>
        </a:lnSpc>
        <a:spcBef>
          <a:spcPts val="200"/>
        </a:spcBef>
        <a:spcAft>
          <a:spcPts val="200"/>
        </a:spcAft>
        <a:buClrTx/>
        <a:buSzPct val="125000"/>
        <a:buFont typeface="Arial" pitchFamily="34" charset="0"/>
        <a:buChar char="–"/>
        <a:defRPr sz="105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82718" indent="-158400" algn="l" defTabSz="806052" rtl="0" eaLnBrk="1" latinLnBrk="0" hangingPunct="1">
        <a:lnSpc>
          <a:spcPts val="2000"/>
        </a:lnSpc>
        <a:spcBef>
          <a:spcPts val="400"/>
        </a:spcBef>
        <a:spcAft>
          <a:spcPts val="300"/>
        </a:spcAft>
        <a:buClrTx/>
        <a:buSzPct val="125000"/>
        <a:buFont typeface="Arial" panose="020B0604020202020204" pitchFamily="34" charset="0"/>
        <a:buChar char="•"/>
        <a:defRPr sz="100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216640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6pPr>
      <a:lvl7pPr marL="2619666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7pPr>
      <a:lvl8pPr marL="3022694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8pPr>
      <a:lvl9pPr marL="3425719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1pPr>
      <a:lvl2pPr marL="403025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2pPr>
      <a:lvl3pPr marL="806052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3pPr>
      <a:lvl4pPr marL="1209078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4pPr>
      <a:lvl5pPr marL="1612105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5pPr>
      <a:lvl6pPr marL="2015123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6pPr>
      <a:lvl7pPr marL="2418157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7pPr>
      <a:lvl8pPr marL="2821180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8pPr>
      <a:lvl9pPr marL="3224205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0" pos="5520" userDrawn="1">
          <p15:clr>
            <a:srgbClr val="F26B43"/>
          </p15:clr>
        </p15:guide>
        <p15:guide id="22" orient="horz" pos="3062" userDrawn="1">
          <p15:clr>
            <a:srgbClr val="F26B43"/>
          </p15:clr>
        </p15:guide>
        <p15:guide id="23" orient="horz" pos="232" userDrawn="1">
          <p15:clr>
            <a:srgbClr val="F26B43"/>
          </p15:clr>
        </p15:guide>
        <p15:guide id="26" pos="240" userDrawn="1">
          <p15:clr>
            <a:srgbClr val="F26B43"/>
          </p15:clr>
        </p15:guide>
        <p15:guide id="27" pos="75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104975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2999A80-A87B-4C57-8050-86B60043C63C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fi-FI" sz="18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8764" y="114577"/>
            <a:ext cx="8618537" cy="58210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fi-FI" dirty="0"/>
              <a:t>Content </a:t>
            </a:r>
            <a:r>
              <a:rPr lang="fi-FI" dirty="0" err="1"/>
              <a:t>title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4465" y="4933765"/>
            <a:ext cx="578213" cy="14421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="1" i="0">
                <a:solidFill>
                  <a:srgbClr val="919191"/>
                </a:solidFill>
                <a:latin typeface="Arial Bold"/>
              </a:defRPr>
            </a:lvl1pPr>
          </a:lstStyle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931937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5" r:id="rId5"/>
    <p:sldLayoutId id="2147483716" r:id="rId6"/>
    <p:sldLayoutId id="2147483717" r:id="rId7"/>
  </p:sldLayoutIdLst>
  <p:hf hdr="0" ftr="0" dt="0"/>
  <p:txStyles>
    <p:titleStyle>
      <a:lvl1pPr algn="l" defTabSz="1300976" rtl="0" eaLnBrk="1" latinLnBrk="0" hangingPunct="1">
        <a:lnSpc>
          <a:spcPct val="80000"/>
        </a:lnSpc>
        <a:spcBef>
          <a:spcPct val="0"/>
        </a:spcBef>
        <a:buNone/>
        <a:defRPr lang="en-US" sz="1800" b="1" i="0" kern="1200" cap="none" spc="0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</p:titleStyle>
    <p:bodyStyle>
      <a:lvl1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  <a:lvl2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2pPr>
      <a:lvl3pPr marL="144460" indent="-14446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6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3pPr>
      <a:lvl4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1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4pPr>
      <a:lvl5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0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5pPr>
      <a:lvl6pPr marL="171446" indent="-136522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600" b="0" i="0" kern="1200" cap="none" baseline="0">
          <a:solidFill>
            <a:schemeClr val="tx2"/>
          </a:solidFill>
          <a:latin typeface="+mn-lt"/>
          <a:ea typeface="Arial Bold" charset="0"/>
          <a:cs typeface="Arial Bold" charset="0"/>
        </a:defRPr>
      </a:lvl6pPr>
      <a:lvl7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400" b="1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7pPr>
      <a:lvl8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400" b="0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8pPr>
      <a:lvl9pPr marL="144460" indent="-14446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4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9pPr>
    </p:bodyStyle>
    <p:otherStyle>
      <a:defPPr>
        <a:defRPr lang="en-US"/>
      </a:defPPr>
      <a:lvl1pPr marL="0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50488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00976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51463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01952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52440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02927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53415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03903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96">
          <p15:clr>
            <a:srgbClr val="F26B43"/>
          </p15:clr>
        </p15:guide>
        <p15:guide id="2" pos="2880">
          <p15:clr>
            <a:srgbClr val="F26B43"/>
          </p15:clr>
        </p15:guide>
        <p15:guide id="3" pos="163">
          <p15:clr>
            <a:srgbClr val="F26B43"/>
          </p15:clr>
        </p15:guide>
        <p15:guide id="4" pos="5592">
          <p15:clr>
            <a:srgbClr val="F26B43"/>
          </p15:clr>
        </p15:guide>
        <p15:guide id="5" orient="horz" pos="852">
          <p15:clr>
            <a:srgbClr val="F26B43"/>
          </p15:clr>
        </p15:guide>
        <p15:guide id="7" orient="horz" pos="156">
          <p15:clr>
            <a:srgbClr val="F26B43"/>
          </p15:clr>
        </p15:guide>
        <p15:guide id="8" orient="horz" pos="2868">
          <p15:clr>
            <a:srgbClr val="F26B43"/>
          </p15:clr>
        </p15:guide>
        <p15:guide id="9" orient="horz" pos="1524">
          <p15:clr>
            <a:srgbClr val="F26B43"/>
          </p15:clr>
        </p15:guide>
        <p15:guide id="10" orient="horz" pos="30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6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62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3.emf"/><Relationship Id="rId4" Type="http://schemas.openxmlformats.org/officeDocument/2006/relationships/oleObject" Target="../embeddings/oleObject9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64.emf"/><Relationship Id="rId4" Type="http://schemas.openxmlformats.org/officeDocument/2006/relationships/oleObject" Target="../embeddings/oleObject10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6.xml"/><Relationship Id="rId1" Type="http://schemas.openxmlformats.org/officeDocument/2006/relationships/vmlDrawing" Target="../drawings/vmlDrawing11.vml"/><Relationship Id="rId4" Type="http://schemas.openxmlformats.org/officeDocument/2006/relationships/image" Target="../media/image65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50FC3B40-AC30-46E2-BCAD-E388935D7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Autofit/>
          </a:bodyPr>
          <a:lstStyle/>
          <a:p>
            <a:r>
              <a:rPr lang="fi-FI" dirty="0"/>
              <a:t>Teknologiateollisuuden Talousnäkymät</a:t>
            </a:r>
          </a:p>
          <a:p>
            <a:r>
              <a:rPr lang="fi-FI" dirty="0"/>
              <a:t>10.8.2022</a:t>
            </a:r>
          </a:p>
          <a:p>
            <a:endParaRPr lang="fi-FI" dirty="0"/>
          </a:p>
          <a:p>
            <a:endParaRPr lang="fi-FI" dirty="0"/>
          </a:p>
          <a:p>
            <a:r>
              <a:rPr lang="fi-FI" dirty="0"/>
              <a:t>Johtaja, pääekonomisti</a:t>
            </a:r>
          </a:p>
          <a:p>
            <a:r>
              <a:rPr lang="fi-FI" dirty="0"/>
              <a:t>Petteri Rautaporras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5E6AE94-550F-4A51-A044-3C71A83A33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7AB86DA5-6B79-4508-BE0A-50E52FDDE2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D0C29F-D373-4791-88C9-86C29F06AD83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DBE36005-B164-4A53-BF16-046D6853FB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607371377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96885" y="171617"/>
            <a:ext cx="7992000" cy="648000"/>
          </a:xfrm>
        </p:spPr>
        <p:txBody>
          <a:bodyPr>
            <a:noAutofit/>
          </a:bodyPr>
          <a:lstStyle/>
          <a:p>
            <a:r>
              <a:rPr lang="fi-FI" sz="2000" dirty="0"/>
              <a:t>Teknologiateollisuuden henkilöstömäärä Suomessa suurempi kuin kertaakaan aiemmin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0</a:t>
            </a:fld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3533462" cy="165163"/>
          </a:xfrm>
        </p:spPr>
        <p:txBody>
          <a:bodyPr/>
          <a:lstStyle/>
          <a:p>
            <a:r>
              <a:rPr lang="fi-FI" dirty="0"/>
              <a:t>Lähde: Tilastokeskus, Teknologiateollisuus ry:n henkilöstötiedustelu</a:t>
            </a:r>
          </a:p>
        </p:txBody>
      </p:sp>
      <p:graphicFrame>
        <p:nvGraphicFramePr>
          <p:cNvPr id="8" name="Object 3"/>
          <p:cNvGraphicFramePr>
            <a:graphicFrameLocks noChangeAspect="1"/>
          </p:cNvGraphicFramePr>
          <p:nvPr/>
        </p:nvGraphicFramePr>
        <p:xfrm>
          <a:off x="395536" y="943123"/>
          <a:ext cx="8015459" cy="36448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Puhekupla: Suorakulmio, kulmat pyöristettu 8">
            <a:extLst>
              <a:ext uri="{FF2B5EF4-FFF2-40B4-BE49-F238E27FC236}">
                <a16:creationId xmlns:a16="http://schemas.microsoft.com/office/drawing/2014/main" id="{44425203-2A44-4D66-809C-7A80E3AC73E6}"/>
              </a:ext>
            </a:extLst>
          </p:cNvPr>
          <p:cNvSpPr/>
          <p:nvPr/>
        </p:nvSpPr>
        <p:spPr bwMode="auto">
          <a:xfrm>
            <a:off x="6514791" y="627534"/>
            <a:ext cx="1945641" cy="603621"/>
          </a:xfrm>
          <a:prstGeom prst="wedgeRoundRectCallout">
            <a:avLst>
              <a:gd name="adj1" fmla="val 17448"/>
              <a:gd name="adj2" fmla="val 65745"/>
              <a:gd name="adj3" fmla="val 16667"/>
            </a:avLst>
          </a:prstGeom>
          <a:solidFill>
            <a:schemeClr val="bg2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i-FI" sz="1050" dirty="0"/>
              <a:t>Henkilöstöstä noin 4 700 lomautusjärjestelyiden piirissä 30.6.2022</a:t>
            </a:r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AB9BCB81-0491-4C8C-9FE6-301FFB3AC146}"/>
              </a:ext>
            </a:extLst>
          </p:cNvPr>
          <p:cNvSpPr txBox="1"/>
          <p:nvPr/>
        </p:nvSpPr>
        <p:spPr>
          <a:xfrm>
            <a:off x="7718825" y="4217490"/>
            <a:ext cx="360040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fi-FI" sz="1050" spc="-40" dirty="0"/>
              <a:t>30.6</a:t>
            </a:r>
          </a:p>
        </p:txBody>
      </p:sp>
    </p:spTree>
    <p:extLst>
      <p:ext uri="{BB962C8B-B14F-4D97-AF65-F5344CB8AC3E}">
        <p14:creationId xmlns:p14="http://schemas.microsoft.com/office/powerpoint/2010/main" val="2667477272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8421552" cy="648000"/>
          </a:xfrm>
        </p:spPr>
        <p:txBody>
          <a:bodyPr/>
          <a:lstStyle/>
          <a:p>
            <a:r>
              <a:rPr lang="fi-FI" dirty="0"/>
              <a:t>Teknologiateollisuuden* uudet tilaukset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CB6B90-8271-4E8F-82C1-E646FBB48A2E}" type="slidenum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C97DB-DA9C-4CFA-B970-B8599B25F3E4}" type="datetime1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.8.2022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700" b="0" i="0" u="none" strike="noStrike" kern="1200" cap="none" spc="0" normalizeH="0" baseline="0" noProof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eknologiateollisuus</a:t>
            </a:r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634955" cy="165163"/>
          </a:xfrm>
        </p:spPr>
        <p:txBody>
          <a:bodyPr/>
          <a:lstStyle/>
          <a:p>
            <a:r>
              <a:rPr lang="fi-FI" dirty="0"/>
              <a:t>Lähde: Teknologiateollisuus ry:n tilauskantatiedustelun vastaajayritykset, </a:t>
            </a:r>
          </a:p>
          <a:p>
            <a:r>
              <a:rPr lang="fi-FI" dirty="0"/>
              <a:t>viimeisin tieto huhti-kesäkuu 2022.</a:t>
            </a:r>
          </a:p>
        </p:txBody>
      </p:sp>
      <p:graphicFrame>
        <p:nvGraphicFramePr>
          <p:cNvPr id="12" name="Object 5"/>
          <p:cNvGraphicFramePr>
            <a:graphicFrameLocks noGrp="1" noChangeAspect="1"/>
          </p:cNvGraphicFramePr>
          <p:nvPr>
            <p:ph sz="quarter" idx="17"/>
          </p:nvPr>
        </p:nvGraphicFramePr>
        <p:xfrm>
          <a:off x="107504" y="1016526"/>
          <a:ext cx="8856983" cy="3045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Text Box 7"/>
          <p:cNvSpPr txBox="1">
            <a:spLocks noChangeArrowheads="1"/>
          </p:cNvSpPr>
          <p:nvPr/>
        </p:nvSpPr>
        <p:spPr bwMode="auto">
          <a:xfrm>
            <a:off x="943147" y="1125043"/>
            <a:ext cx="2375726" cy="245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381" tIns="41690" rIns="83381" bIns="41690">
            <a:spAutoFit/>
          </a:bodyPr>
          <a:lstStyle>
            <a:lvl1pPr defTabSz="827088">
              <a:defRPr>
                <a:solidFill>
                  <a:schemeClr val="tx1"/>
                </a:solidFill>
                <a:latin typeface="Arial" charset="0"/>
              </a:defRPr>
            </a:lvl1pPr>
            <a:lvl2pPr marL="414338" defTabSz="827088">
              <a:defRPr>
                <a:solidFill>
                  <a:schemeClr val="tx1"/>
                </a:solidFill>
                <a:latin typeface="Arial" charset="0"/>
              </a:defRPr>
            </a:lvl2pPr>
            <a:lvl3pPr marL="827088" defTabSz="827088">
              <a:defRPr>
                <a:solidFill>
                  <a:schemeClr val="tx1"/>
                </a:solidFill>
                <a:latin typeface="Arial" charset="0"/>
              </a:defRPr>
            </a:lvl3pPr>
            <a:lvl4pPr marL="1241425" defTabSz="827088">
              <a:defRPr>
                <a:solidFill>
                  <a:schemeClr val="tx1"/>
                </a:solidFill>
                <a:latin typeface="Arial" charset="0"/>
              </a:defRPr>
            </a:lvl4pPr>
            <a:lvl5pPr marL="1655763" defTabSz="827088">
              <a:defRPr>
                <a:solidFill>
                  <a:schemeClr val="tx1"/>
                </a:solidFill>
                <a:latin typeface="Arial" charset="0"/>
              </a:defRPr>
            </a:lvl5pPr>
            <a:lvl6pPr marL="21129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5701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0273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4845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27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+mn-cs"/>
              </a:rPr>
              <a:t>Miljoonaa euroa, käyvin hinnoin </a:t>
            </a:r>
          </a:p>
        </p:txBody>
      </p:sp>
      <p:graphicFrame>
        <p:nvGraphicFramePr>
          <p:cNvPr id="25" name="Taulukko 24"/>
          <p:cNvGraphicFramePr>
            <a:graphicFrameLocks noGrp="1"/>
          </p:cNvGraphicFramePr>
          <p:nvPr/>
        </p:nvGraphicFramePr>
        <p:xfrm>
          <a:off x="3438453" y="3934949"/>
          <a:ext cx="3767898" cy="803820"/>
        </p:xfrm>
        <a:graphic>
          <a:graphicData uri="http://schemas.openxmlformats.org/drawingml/2006/table">
            <a:tbl>
              <a:tblPr/>
              <a:tblGrid>
                <a:gridCol w="8638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84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56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b="0" i="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Muutos</a:t>
                      </a:r>
                      <a:r>
                        <a:rPr lang="en-GB" sz="900" b="0" i="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I/2022 / II,2021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I,2022 / I,2022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Vientii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6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5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Kotimaaha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35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31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Yhteensä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12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10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6" name="Text Box 10"/>
          <p:cNvSpPr txBox="1">
            <a:spLocks noChangeArrowheads="1"/>
          </p:cNvSpPr>
          <p:nvPr/>
        </p:nvSpPr>
        <p:spPr bwMode="auto">
          <a:xfrm>
            <a:off x="7255083" y="3953871"/>
            <a:ext cx="1521649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8123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Arial Unicode MS"/>
                <a:cs typeface="+mn-cs"/>
              </a:rPr>
              <a:t>*) Pl. metallien jalostus, pelialan ohjelmistoyritykset ja datakeskukset </a:t>
            </a:r>
          </a:p>
        </p:txBody>
      </p:sp>
      <p:graphicFrame>
        <p:nvGraphicFramePr>
          <p:cNvPr id="14" name="Taulukko 13">
            <a:extLst>
              <a:ext uri="{FF2B5EF4-FFF2-40B4-BE49-F238E27FC236}">
                <a16:creationId xmlns:a16="http://schemas.microsoft.com/office/drawing/2014/main" id="{8AD21D0F-9B6A-4E23-A81A-E23C9B1E89C1}"/>
              </a:ext>
            </a:extLst>
          </p:cNvPr>
          <p:cNvGraphicFramePr>
            <a:graphicFrameLocks noGrp="1"/>
          </p:cNvGraphicFramePr>
          <p:nvPr/>
        </p:nvGraphicFramePr>
        <p:xfrm>
          <a:off x="827584" y="3673367"/>
          <a:ext cx="6984770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380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1605823485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1470258251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1487886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8421552" cy="6480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i-FI" dirty="0"/>
              <a:t>Kone- ja metallituoteteollisuuden uudet tilaukset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CB6B90-8271-4E8F-82C1-E646FBB48A2E}" type="slidenum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C97DB-DA9C-4CFA-B970-B8599B25F3E4}" type="datetime1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.8.2022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700" b="0" i="0" u="none" strike="noStrike" kern="1200" cap="none" spc="0" normalizeH="0" baseline="0" noProof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eknologiateollisuus</a:t>
            </a:r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634955" cy="165163"/>
          </a:xfrm>
        </p:spPr>
        <p:txBody>
          <a:bodyPr/>
          <a:lstStyle/>
          <a:p>
            <a:r>
              <a:rPr lang="fi-FI" dirty="0"/>
              <a:t>Lähde: Teknologiateollisuus ry:n tilauskantatiedustelun vastaajayritykset, </a:t>
            </a:r>
          </a:p>
          <a:p>
            <a:r>
              <a:rPr lang="fi-FI" dirty="0"/>
              <a:t>viimeisin huhti-kesäkuu 2022.</a:t>
            </a:r>
          </a:p>
        </p:txBody>
      </p:sp>
      <p:graphicFrame>
        <p:nvGraphicFramePr>
          <p:cNvPr id="12" name="Object 5"/>
          <p:cNvGraphicFramePr>
            <a:graphicFrameLocks noGrp="1" noChangeAspect="1"/>
          </p:cNvGraphicFramePr>
          <p:nvPr>
            <p:ph sz="quarter" idx="17"/>
          </p:nvPr>
        </p:nvGraphicFramePr>
        <p:xfrm>
          <a:off x="107504" y="1016526"/>
          <a:ext cx="8856983" cy="3045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Text Box 7"/>
          <p:cNvSpPr txBox="1">
            <a:spLocks noChangeArrowheads="1"/>
          </p:cNvSpPr>
          <p:nvPr/>
        </p:nvSpPr>
        <p:spPr bwMode="auto">
          <a:xfrm>
            <a:off x="943147" y="1125043"/>
            <a:ext cx="2375726" cy="245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381" tIns="41690" rIns="83381" bIns="41690">
            <a:spAutoFit/>
          </a:bodyPr>
          <a:lstStyle>
            <a:lvl1pPr defTabSz="827088">
              <a:defRPr>
                <a:solidFill>
                  <a:schemeClr val="tx1"/>
                </a:solidFill>
                <a:latin typeface="Arial" charset="0"/>
              </a:defRPr>
            </a:lvl1pPr>
            <a:lvl2pPr marL="414338" defTabSz="827088">
              <a:defRPr>
                <a:solidFill>
                  <a:schemeClr val="tx1"/>
                </a:solidFill>
                <a:latin typeface="Arial" charset="0"/>
              </a:defRPr>
            </a:lvl2pPr>
            <a:lvl3pPr marL="827088" defTabSz="827088">
              <a:defRPr>
                <a:solidFill>
                  <a:schemeClr val="tx1"/>
                </a:solidFill>
                <a:latin typeface="Arial" charset="0"/>
              </a:defRPr>
            </a:lvl3pPr>
            <a:lvl4pPr marL="1241425" defTabSz="827088">
              <a:defRPr>
                <a:solidFill>
                  <a:schemeClr val="tx1"/>
                </a:solidFill>
                <a:latin typeface="Arial" charset="0"/>
              </a:defRPr>
            </a:lvl4pPr>
            <a:lvl5pPr marL="1655763" defTabSz="827088">
              <a:defRPr>
                <a:solidFill>
                  <a:schemeClr val="tx1"/>
                </a:solidFill>
                <a:latin typeface="Arial" charset="0"/>
              </a:defRPr>
            </a:lvl5pPr>
            <a:lvl6pPr marL="21129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5701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0273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4845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27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+mn-cs"/>
              </a:rPr>
              <a:t>Miljoonaa euroa, käyvin hinnoin </a:t>
            </a:r>
          </a:p>
        </p:txBody>
      </p:sp>
      <p:graphicFrame>
        <p:nvGraphicFramePr>
          <p:cNvPr id="25" name="Taulukko 24"/>
          <p:cNvGraphicFramePr>
            <a:graphicFrameLocks noGrp="1"/>
          </p:cNvGraphicFramePr>
          <p:nvPr/>
        </p:nvGraphicFramePr>
        <p:xfrm>
          <a:off x="3438453" y="3934949"/>
          <a:ext cx="3767898" cy="803820"/>
        </p:xfrm>
        <a:graphic>
          <a:graphicData uri="http://schemas.openxmlformats.org/drawingml/2006/table">
            <a:tbl>
              <a:tblPr/>
              <a:tblGrid>
                <a:gridCol w="8638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84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56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b="0" i="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Muutos</a:t>
                      </a:r>
                      <a:r>
                        <a:rPr lang="en-GB" sz="900" b="0" i="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I,2022 / II,2021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I,2022 / I,2022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Vientii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11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12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Kotimaaha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85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75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Yhteensä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5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3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4" name="Taulukko 13">
            <a:extLst>
              <a:ext uri="{FF2B5EF4-FFF2-40B4-BE49-F238E27FC236}">
                <a16:creationId xmlns:a16="http://schemas.microsoft.com/office/drawing/2014/main" id="{8AD21D0F-9B6A-4E23-A81A-E23C9B1E89C1}"/>
              </a:ext>
            </a:extLst>
          </p:cNvPr>
          <p:cNvGraphicFramePr>
            <a:graphicFrameLocks noGrp="1"/>
          </p:cNvGraphicFramePr>
          <p:nvPr/>
        </p:nvGraphicFramePr>
        <p:xfrm>
          <a:off x="827584" y="3673367"/>
          <a:ext cx="6984770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380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89007304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1605823485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05809879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Kone- ja metallituoteteollisuuden tilauskanta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CB6B90-8271-4E8F-82C1-E646FBB48A2E}" type="slidenum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C97DB-DA9C-4CFA-B970-B8599B25F3E4}" type="datetime1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.8.2022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700" b="0" i="0" u="none" strike="noStrike" kern="1200" cap="none" spc="0" normalizeH="0" baseline="0" noProof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eknologiateollisuus</a:t>
            </a:r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570154" cy="241813"/>
          </a:xfrm>
        </p:spPr>
        <p:txBody>
          <a:bodyPr/>
          <a:lstStyle/>
          <a:p>
            <a:r>
              <a:rPr lang="fi-FI" dirty="0"/>
              <a:t>Lähde: Teknologiateollisuus ry:n tilauskantatiedustelun vastaajayritykset, </a:t>
            </a:r>
          </a:p>
          <a:p>
            <a:r>
              <a:rPr lang="fi-FI" dirty="0"/>
              <a:t>viimeisin tieto 30.6.2022.</a:t>
            </a:r>
          </a:p>
        </p:txBody>
      </p:sp>
      <p:graphicFrame>
        <p:nvGraphicFramePr>
          <p:cNvPr id="8" name="Object 3"/>
          <p:cNvGraphicFramePr>
            <a:graphicFrameLocks noGrp="1" noChangeAspect="1"/>
          </p:cNvGraphicFramePr>
          <p:nvPr>
            <p:ph sz="quarter" idx="17"/>
          </p:nvPr>
        </p:nvGraphicFramePr>
        <p:xfrm>
          <a:off x="179512" y="1016527"/>
          <a:ext cx="8856984" cy="28512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 Box 7"/>
          <p:cNvSpPr txBox="1">
            <a:spLocks noChangeArrowheads="1"/>
          </p:cNvSpPr>
          <p:nvPr/>
        </p:nvSpPr>
        <p:spPr bwMode="auto">
          <a:xfrm>
            <a:off x="990389" y="1095112"/>
            <a:ext cx="2375726" cy="245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381" tIns="41690" rIns="83381" bIns="41690">
            <a:spAutoFit/>
          </a:bodyPr>
          <a:lstStyle>
            <a:lvl1pPr defTabSz="827088">
              <a:defRPr>
                <a:solidFill>
                  <a:schemeClr val="tx1"/>
                </a:solidFill>
                <a:latin typeface="Arial" charset="0"/>
              </a:defRPr>
            </a:lvl1pPr>
            <a:lvl2pPr marL="414338" defTabSz="827088">
              <a:defRPr>
                <a:solidFill>
                  <a:schemeClr val="tx1"/>
                </a:solidFill>
                <a:latin typeface="Arial" charset="0"/>
              </a:defRPr>
            </a:lvl2pPr>
            <a:lvl3pPr marL="827088" defTabSz="827088">
              <a:defRPr>
                <a:solidFill>
                  <a:schemeClr val="tx1"/>
                </a:solidFill>
                <a:latin typeface="Arial" charset="0"/>
              </a:defRPr>
            </a:lvl3pPr>
            <a:lvl4pPr marL="1241425" defTabSz="827088">
              <a:defRPr>
                <a:solidFill>
                  <a:schemeClr val="tx1"/>
                </a:solidFill>
                <a:latin typeface="Arial" charset="0"/>
              </a:defRPr>
            </a:lvl4pPr>
            <a:lvl5pPr marL="1655763" defTabSz="827088">
              <a:defRPr>
                <a:solidFill>
                  <a:schemeClr val="tx1"/>
                </a:solidFill>
                <a:latin typeface="Arial" charset="0"/>
              </a:defRPr>
            </a:lvl5pPr>
            <a:lvl6pPr marL="21129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5701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0273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4845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27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+mn-cs"/>
              </a:rPr>
              <a:t>Miljoonaa euroa, käyvin hinnoin </a:t>
            </a:r>
          </a:p>
        </p:txBody>
      </p:sp>
      <p:graphicFrame>
        <p:nvGraphicFramePr>
          <p:cNvPr id="11" name="Taulukko 10"/>
          <p:cNvGraphicFramePr>
            <a:graphicFrameLocks noGrp="1"/>
          </p:cNvGraphicFramePr>
          <p:nvPr/>
        </p:nvGraphicFramePr>
        <p:xfrm>
          <a:off x="3470383" y="3923754"/>
          <a:ext cx="3835454" cy="803820"/>
        </p:xfrm>
        <a:graphic>
          <a:graphicData uri="http://schemas.openxmlformats.org/drawingml/2006/table">
            <a:tbl>
              <a:tblPr/>
              <a:tblGrid>
                <a:gridCol w="8294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303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7570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b="0" i="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Muutos</a:t>
                      </a:r>
                      <a:r>
                        <a:rPr lang="en-GB" sz="900" b="0" i="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30.6.2022 / 30.6.2021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30.6.2022 / 31.3.2022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Vientii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4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4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Kotimaaha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2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10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Yhteensä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4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2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" name="Text Box 10"/>
          <p:cNvSpPr txBox="1">
            <a:spLocks noChangeArrowheads="1"/>
          </p:cNvSpPr>
          <p:nvPr/>
        </p:nvSpPr>
        <p:spPr bwMode="auto">
          <a:xfrm>
            <a:off x="6516030" y="1113179"/>
            <a:ext cx="972015" cy="244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1897" tIns="40949" rIns="81897" bIns="40949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</a:defRPr>
            </a:lvl3pPr>
            <a:lvl4pPr marL="1370013"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123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+mn-cs"/>
              </a:rPr>
              <a:t>Yhteensä</a:t>
            </a:r>
          </a:p>
        </p:txBody>
      </p:sp>
      <p:graphicFrame>
        <p:nvGraphicFramePr>
          <p:cNvPr id="14" name="Taulukko 13">
            <a:extLst>
              <a:ext uri="{FF2B5EF4-FFF2-40B4-BE49-F238E27FC236}">
                <a16:creationId xmlns:a16="http://schemas.microsoft.com/office/drawing/2014/main" id="{25A6EAF7-AEEF-4B6F-87C7-B2CE2CAC0083}"/>
              </a:ext>
            </a:extLst>
          </p:cNvPr>
          <p:cNvGraphicFramePr>
            <a:graphicFrameLocks noGrp="1"/>
          </p:cNvGraphicFramePr>
          <p:nvPr/>
        </p:nvGraphicFramePr>
        <p:xfrm>
          <a:off x="827584" y="3625592"/>
          <a:ext cx="7128788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4912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912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912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912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4912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4912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4771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47718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547718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547718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547718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  <a:gridCol w="547718">
                  <a:extLst>
                    <a:ext uri="{9D8B030D-6E8A-4147-A177-3AD203B41FA5}">
                      <a16:colId xmlns:a16="http://schemas.microsoft.com/office/drawing/2014/main" val="1792385291"/>
                    </a:ext>
                  </a:extLst>
                </a:gridCol>
                <a:gridCol w="547718">
                  <a:extLst>
                    <a:ext uri="{9D8B030D-6E8A-4147-A177-3AD203B41FA5}">
                      <a16:colId xmlns:a16="http://schemas.microsoft.com/office/drawing/2014/main" val="3450077273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5491431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B1EEA068-123C-4013-B1BB-62E35EE52D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Yhteenveto teknologiateollisuuden tilanteesta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D8F70A0-36D3-4221-BBF8-ACBFA7903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4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7E1D219-EF19-43BE-A264-915D60C239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84DFD2AD-AFC5-4975-8D04-12C391F42D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438E4283-469C-4E61-9967-BB1E108BD8A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6237" y="701750"/>
            <a:ext cx="8391525" cy="3740000"/>
          </a:xfrm>
        </p:spPr>
        <p:txBody>
          <a:bodyPr>
            <a:no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400" dirty="0"/>
              <a:t>Läntisissä talouksissa taantuma vaikuttaa väistämättömältä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400" dirty="0"/>
              <a:t>Riskit hyvin negatiiviseenkin kehitykseen merkittäviä: energian saatavuus ja hinta Euroopassa, sodan kehittyminen, Kiinan rooli, stagflaatio jne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400" dirty="0"/>
              <a:t>Kone- ja metallituoteteollisuuden vientitilausten arvo jo selvästi vuodentakaista alemmalla tasolla.</a:t>
            </a:r>
          </a:p>
          <a:p>
            <a:pPr marL="757082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050" dirty="0"/>
              <a:t>Kohonnut hintataso huomioiden tilauskertymä yllättävänkin heikko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400" dirty="0"/>
              <a:t>Euroopassa teollisuuden pidemmän aikavälin suhdanneodotukset jatkaneet heikentymistään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400" dirty="0"/>
              <a:t>Kasvaneet varastot ja hiipuva kysyntä muodostavat merkittävän riskin liiketoiminnalle </a:t>
            </a:r>
            <a:endParaRPr lang="fi-FI" sz="1050" dirty="0"/>
          </a:p>
          <a:p>
            <a:pPr marL="2965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400" dirty="0"/>
              <a:t>Kysyntätilanteessa ei nopeita muutoksia heikompaan, pikemminkin jatkuvaa tasaista hiipumista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400" dirty="0"/>
              <a:t>Myös hidastuvassa kysyntätilanteessa mahdollista menestyä.</a:t>
            </a:r>
          </a:p>
          <a:p>
            <a:pPr marL="757082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050" dirty="0"/>
              <a:t>Kustannuskilpailukyvystä pidettävä huolta.</a:t>
            </a:r>
          </a:p>
          <a:p>
            <a:pPr marL="757082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050" dirty="0"/>
              <a:t>Teknologinen </a:t>
            </a:r>
            <a:r>
              <a:rPr lang="fi-FI" sz="1050" dirty="0" err="1"/>
              <a:t>edelläkävijyys</a:t>
            </a:r>
            <a:r>
              <a:rPr lang="fi-FI" sz="1050" dirty="0"/>
              <a:t> ja korkea osaaminen keskeistä. Vihreän siirtymän arvoketjuissa mukanaolo tukee kysyntää myös huonossa suhdanteessa.</a:t>
            </a:r>
          </a:p>
          <a:p>
            <a:pPr marL="757082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050" dirty="0"/>
              <a:t>Puolustusteollisuus</a:t>
            </a:r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1DC11B62-82CC-4782-8C0B-21C0007614F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70922604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40907C84-4663-4DC6-B126-256840B8741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72800" y="1924882"/>
            <a:ext cx="6977283" cy="1438956"/>
          </a:xfrm>
        </p:spPr>
        <p:txBody>
          <a:bodyPr/>
          <a:lstStyle/>
          <a:p>
            <a:r>
              <a:rPr lang="fi-FI" dirty="0"/>
              <a:t>Kommenttipuheenvuorot:</a:t>
            </a:r>
          </a:p>
          <a:p>
            <a:endParaRPr lang="fi-FI" dirty="0"/>
          </a:p>
          <a:p>
            <a:r>
              <a:rPr lang="fi-FI" dirty="0"/>
              <a:t>Jaakko Hirvola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7A68CCB8-33EA-41B5-9F9A-507D87401A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5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52243FC3-653F-4D19-92B4-86E65DACB7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D0C29F-D373-4791-88C9-86C29F06AD83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85844D15-59B2-4253-AD9D-BEE0FD80FA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29075840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25165083-82DB-4E44-8B62-0436D46FE3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51623" y="1995686"/>
            <a:ext cx="7440754" cy="1797617"/>
          </a:xfrm>
        </p:spPr>
        <p:txBody>
          <a:bodyPr>
            <a:noAutofit/>
          </a:bodyPr>
          <a:lstStyle/>
          <a:p>
            <a:r>
              <a:rPr lang="fi-FI" sz="2000" dirty="0"/>
              <a:t>Taantuma Euroopassa ja Yhdysvalloissa näyttää hyvin todennäköiseltä – syvyys ja kesto vielä epävarmaa</a:t>
            </a:r>
          </a:p>
          <a:p>
            <a:endParaRPr lang="fi-FI" sz="1600" dirty="0"/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829D7C96-6092-444C-B8F9-982503A61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2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52F7CDC9-FE49-461B-8232-A859BAC78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5A29F8-3631-43D8-937B-CB2D984A1FF3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CA72096-0DE0-44E3-9830-9DCC211505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272776827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81FD0014-CD75-481A-A3A6-860DE62B96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7992000" cy="732540"/>
          </a:xfrm>
        </p:spPr>
        <p:txBody>
          <a:bodyPr/>
          <a:lstStyle/>
          <a:p>
            <a:r>
              <a:rPr lang="fi-FI" dirty="0"/>
              <a:t>Kasvu yskähtelee niin euroalueella kuin Yhdysvalloissakin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59947D8-4933-4C79-B13B-2B0DD9B3A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3</a:t>
            </a:fld>
            <a:endParaRPr lang="fi-FI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F2181966-A4FD-459E-9691-D2CACC2174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9.8.2022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AB76D70A-5CCE-47AB-A1F9-7E45D8A0B7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A550D66C-AA58-4B32-9253-8DB410D4438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/>
              <a:t>Lähde: </a:t>
            </a:r>
            <a:r>
              <a:rPr lang="fi-FI" err="1"/>
              <a:t>Macrobond</a:t>
            </a:r>
            <a:r>
              <a:rPr lang="fi-FI"/>
              <a:t>, Markit</a:t>
            </a:r>
          </a:p>
        </p:txBody>
      </p:sp>
      <p:graphicFrame>
        <p:nvGraphicFramePr>
          <p:cNvPr id="11" name="Sisällön paikkamerkki 10">
            <a:extLst>
              <a:ext uri="{FF2B5EF4-FFF2-40B4-BE49-F238E27FC236}">
                <a16:creationId xmlns:a16="http://schemas.microsoft.com/office/drawing/2014/main" id="{3A23A9AF-CC98-4FBC-A917-DCD4B1F79E91}"/>
              </a:ext>
            </a:extLst>
          </p:cNvPr>
          <p:cNvGraphicFramePr>
            <a:graphicFrameLocks noGrp="1" noChangeAspect="1"/>
          </p:cNvGraphicFramePr>
          <p:nvPr>
            <p:ph sz="quarter" idx="17"/>
          </p:nvPr>
        </p:nvGraphicFramePr>
        <p:xfrm>
          <a:off x="383718" y="1103313"/>
          <a:ext cx="8386088" cy="3541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Macrobond document" r:id="rId4" imgW="13193184" imgH="5572640" progId="Mbnd.mbnd">
                  <p:embed/>
                </p:oleObj>
              </mc:Choice>
              <mc:Fallback>
                <p:oleObj name="Macrobond document" r:id="rId4" imgW="13193184" imgH="5572640" progId="Mbnd.mbnd">
                  <p:embed/>
                  <p:pic>
                    <p:nvPicPr>
                      <p:cNvPr id="11" name="Sisällön paikkamerkki 10">
                        <a:extLst>
                          <a:ext uri="{FF2B5EF4-FFF2-40B4-BE49-F238E27FC236}">
                            <a16:creationId xmlns:a16="http://schemas.microsoft.com/office/drawing/2014/main" id="{3A23A9AF-CC98-4FBC-A917-DCD4B1F79E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3718" y="1103313"/>
                        <a:ext cx="8386088" cy="3541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08907755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81FD0014-CD75-481A-A3A6-860DE62B96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7992000" cy="732540"/>
          </a:xfrm>
        </p:spPr>
        <p:txBody>
          <a:bodyPr/>
          <a:lstStyle/>
          <a:p>
            <a:r>
              <a:rPr lang="fi-FI" dirty="0"/>
              <a:t>Teollisuudessa tuotanto kääntymässä laskuun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59947D8-4933-4C79-B13B-2B0DD9B3A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4</a:t>
            </a:fld>
            <a:endParaRPr lang="fi-FI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F2181966-A4FD-459E-9691-D2CACC2174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9.8.2022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AB76D70A-5CCE-47AB-A1F9-7E45D8A0B7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A550D66C-AA58-4B32-9253-8DB410D4438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/>
              <a:t>Lähde: </a:t>
            </a:r>
            <a:r>
              <a:rPr lang="fi-FI" err="1"/>
              <a:t>Macrobond</a:t>
            </a:r>
            <a:r>
              <a:rPr lang="fi-FI"/>
              <a:t>, Markit</a:t>
            </a:r>
          </a:p>
        </p:txBody>
      </p:sp>
      <p:graphicFrame>
        <p:nvGraphicFramePr>
          <p:cNvPr id="21" name="Sisällön paikkamerkki 20">
            <a:extLst>
              <a:ext uri="{FF2B5EF4-FFF2-40B4-BE49-F238E27FC236}">
                <a16:creationId xmlns:a16="http://schemas.microsoft.com/office/drawing/2014/main" id="{C36236B9-A7A2-4CEC-91F2-B85001D7E06D}"/>
              </a:ext>
            </a:extLst>
          </p:cNvPr>
          <p:cNvGraphicFramePr>
            <a:graphicFrameLocks noGrp="1" noChangeAspect="1"/>
          </p:cNvGraphicFramePr>
          <p:nvPr>
            <p:ph sz="quarter" idx="17"/>
          </p:nvPr>
        </p:nvGraphicFramePr>
        <p:xfrm>
          <a:off x="384175" y="1111250"/>
          <a:ext cx="8334375" cy="35194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Macrobond document" r:id="rId4" imgW="13193184" imgH="5572640" progId="Mbnd.mbnd">
                  <p:embed/>
                </p:oleObj>
              </mc:Choice>
              <mc:Fallback>
                <p:oleObj name="Macrobond document" r:id="rId4" imgW="13193184" imgH="5572640" progId="Mbnd.mbnd">
                  <p:embed/>
                  <p:pic>
                    <p:nvPicPr>
                      <p:cNvPr id="21" name="Sisällön paikkamerkki 20">
                        <a:extLst>
                          <a:ext uri="{FF2B5EF4-FFF2-40B4-BE49-F238E27FC236}">
                            <a16:creationId xmlns:a16="http://schemas.microsoft.com/office/drawing/2014/main" id="{C36236B9-A7A2-4CEC-91F2-B85001D7E0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4175" y="1111250"/>
                        <a:ext cx="8334375" cy="35194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26943401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03BBF1FD-9DE0-41D6-BE9F-50764DBBC1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5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3173C5A0-0E27-4167-9C0B-B2000126CA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9B74EA60-A953-4FE4-853C-7A9957BAC7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3733E520-6A08-4E9C-973B-B665E50E18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Eurostat, CPB, </a:t>
            </a:r>
            <a:r>
              <a:rPr lang="fi-FI" dirty="0" err="1"/>
              <a:t>Macrobond</a:t>
            </a:r>
            <a:endParaRPr lang="fi-FI" dirty="0"/>
          </a:p>
        </p:txBody>
      </p:sp>
      <p:graphicFrame>
        <p:nvGraphicFramePr>
          <p:cNvPr id="9" name="Sisällön paikkamerkki 8">
            <a:extLst>
              <a:ext uri="{FF2B5EF4-FFF2-40B4-BE49-F238E27FC236}">
                <a16:creationId xmlns:a16="http://schemas.microsoft.com/office/drawing/2014/main" id="{77D08159-59A8-4D26-8835-EADDC01FB2C4}"/>
              </a:ext>
            </a:extLst>
          </p:cNvPr>
          <p:cNvGraphicFramePr>
            <a:graphicFrameLocks noGrp="1" noChangeAspect="1"/>
          </p:cNvGraphicFramePr>
          <p:nvPr>
            <p:ph sz="quarter" idx="17"/>
          </p:nvPr>
        </p:nvGraphicFramePr>
        <p:xfrm>
          <a:off x="383718" y="1103313"/>
          <a:ext cx="8386088" cy="3541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Macrobond document" r:id="rId4" imgW="13193184" imgH="5572640" progId="Mbnd.mbnd">
                  <p:embed/>
                </p:oleObj>
              </mc:Choice>
              <mc:Fallback>
                <p:oleObj name="Macrobond document" r:id="rId4" imgW="13193184" imgH="5572640" progId="Mbnd.mbnd">
                  <p:embed/>
                  <p:pic>
                    <p:nvPicPr>
                      <p:cNvPr id="9" name="Sisällön paikkamerkki 8">
                        <a:extLst>
                          <a:ext uri="{FF2B5EF4-FFF2-40B4-BE49-F238E27FC236}">
                            <a16:creationId xmlns:a16="http://schemas.microsoft.com/office/drawing/2014/main" id="{77D08159-59A8-4D26-8835-EADDC01FB2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3718" y="1103313"/>
                        <a:ext cx="8386088" cy="3541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kstiruutu 5">
            <a:extLst>
              <a:ext uri="{FF2B5EF4-FFF2-40B4-BE49-F238E27FC236}">
                <a16:creationId xmlns:a16="http://schemas.microsoft.com/office/drawing/2014/main" id="{ACB64D57-2C65-4115-B822-B4E241BFDD56}"/>
              </a:ext>
            </a:extLst>
          </p:cNvPr>
          <p:cNvSpPr txBox="1"/>
          <p:nvPr/>
        </p:nvSpPr>
        <p:spPr>
          <a:xfrm>
            <a:off x="781007" y="940812"/>
            <a:ext cx="4525392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fi-FI" sz="1050" spc="-40" dirty="0"/>
              <a:t>Teollisuustuotannon volyymi-indeksi </a:t>
            </a:r>
          </a:p>
        </p:txBody>
      </p:sp>
      <p:sp>
        <p:nvSpPr>
          <p:cNvPr id="13" name="Tekstin paikkamerkki 12">
            <a:extLst>
              <a:ext uri="{FF2B5EF4-FFF2-40B4-BE49-F238E27FC236}">
                <a16:creationId xmlns:a16="http://schemas.microsoft.com/office/drawing/2014/main" id="{7E75BD30-45EA-416E-8741-70B2B991110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Teollisuustuotannon määrän kehitys</a:t>
            </a:r>
          </a:p>
        </p:txBody>
      </p:sp>
    </p:spTree>
    <p:extLst>
      <p:ext uri="{BB962C8B-B14F-4D97-AF65-F5344CB8AC3E}">
        <p14:creationId xmlns:p14="http://schemas.microsoft.com/office/powerpoint/2010/main" val="3383361648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F1B2B53F-58F0-454B-B341-05DDBEB687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Raaka-aineiden hintapaineet hellittäneet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F5D138E4-4AE6-4478-BD33-B9C16FEE9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6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F78A3852-D78D-4EF5-B7D7-CF8B960919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085F6DDC-36DA-46AB-A93C-BD8FC95569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1056D9BA-0411-4BEE-B4D2-91ED4BC3E54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London </a:t>
            </a:r>
            <a:r>
              <a:rPr lang="fi-FI" dirty="0" err="1"/>
              <a:t>Metal</a:t>
            </a:r>
            <a:r>
              <a:rPr lang="fi-FI" dirty="0"/>
              <a:t> Exchange (LME), </a:t>
            </a:r>
            <a:r>
              <a:rPr lang="fi-FI" dirty="0" err="1"/>
              <a:t>Macrobond</a:t>
            </a:r>
            <a:endParaRPr lang="fi-FI" dirty="0"/>
          </a:p>
          <a:p>
            <a:r>
              <a:rPr lang="fi-FI" dirty="0"/>
              <a:t>Hinnat USD</a:t>
            </a:r>
          </a:p>
        </p:txBody>
      </p:sp>
      <p:graphicFrame>
        <p:nvGraphicFramePr>
          <p:cNvPr id="12" name="Sisällön paikkamerkki 8">
            <a:extLst>
              <a:ext uri="{FF2B5EF4-FFF2-40B4-BE49-F238E27FC236}">
                <a16:creationId xmlns:a16="http://schemas.microsoft.com/office/drawing/2014/main" id="{FC388620-56F8-4B5C-A112-B1433996171B}"/>
              </a:ext>
            </a:extLst>
          </p:cNvPr>
          <p:cNvGraphicFramePr>
            <a:graphicFrameLocks noGrp="1" noChangeAspect="1"/>
          </p:cNvGraphicFramePr>
          <p:nvPr>
            <p:ph sz="quarter" idx="17"/>
          </p:nvPr>
        </p:nvGraphicFramePr>
        <p:xfrm>
          <a:off x="383718" y="1103313"/>
          <a:ext cx="8386088" cy="3541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Macrobond document" r:id="rId3" imgW="13193184" imgH="5572640" progId="Mbnd.mbnd">
                  <p:embed/>
                </p:oleObj>
              </mc:Choice>
              <mc:Fallback>
                <p:oleObj name="Macrobond document" r:id="rId3" imgW="13193184" imgH="5572640" progId="Mbnd.mbnd">
                  <p:embed/>
                  <p:pic>
                    <p:nvPicPr>
                      <p:cNvPr id="12" name="Sisällön paikkamerkki 8">
                        <a:extLst>
                          <a:ext uri="{FF2B5EF4-FFF2-40B4-BE49-F238E27FC236}">
                            <a16:creationId xmlns:a16="http://schemas.microsoft.com/office/drawing/2014/main" id="{FC388620-56F8-4B5C-A112-B14339961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83718" y="1103313"/>
                        <a:ext cx="8386088" cy="3541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67060358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4BB0440D-C81A-46A2-A992-15D38EB509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4103" y="452243"/>
            <a:ext cx="7935794" cy="4425865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fi-FI" sz="1800" dirty="0"/>
              <a:t>Suhdanteen jäähtyminen näkyy myös suomalaisessa teknologiateollisuudessa</a:t>
            </a:r>
            <a:endParaRPr lang="fi-FI" sz="1600" dirty="0"/>
          </a:p>
          <a:p>
            <a:pPr>
              <a:lnSpc>
                <a:spcPct val="100000"/>
              </a:lnSpc>
            </a:pPr>
            <a:endParaRPr lang="fi-FI" sz="1600" dirty="0"/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200" dirty="0"/>
              <a:t>Dramaattista käännettä heikompaan ei kuitenkaan vielä nähtävissä</a:t>
            </a:r>
          </a:p>
          <a:p>
            <a:pPr>
              <a:lnSpc>
                <a:spcPct val="100000"/>
              </a:lnSpc>
            </a:pPr>
            <a:endParaRPr lang="fi-FI" sz="1200" dirty="0">
              <a:solidFill>
                <a:schemeClr val="bg1"/>
              </a:solidFill>
            </a:endParaRPr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200" dirty="0">
                <a:solidFill>
                  <a:schemeClr val="bg1"/>
                </a:solidFill>
              </a:rPr>
              <a:t>Materiaalihaasteet helpottamassa myös Suomessa. Tilanteet kuitenkin vaihtelevat paljon yritysten välillä.</a:t>
            </a:r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fi-FI" sz="1050" dirty="0">
              <a:solidFill>
                <a:schemeClr val="bg1"/>
              </a:solidFill>
            </a:endParaRPr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200" dirty="0"/>
              <a:t>Korkealla kustannustasolla täytettyihin varastoihin ja hiipuvaan kysyntään liittyy merkittäviä liiketaloudellisia riskejä.</a:t>
            </a:r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fi-FI" sz="1200" dirty="0"/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200" dirty="0"/>
              <a:t>Kone- ja metallituoteteollisuuden uusien vientitilausten arvo jo selvästi vuodentakaista alempi. </a:t>
            </a:r>
          </a:p>
          <a:p>
            <a:pPr marL="657765" lvl="1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200" dirty="0">
                <a:solidFill>
                  <a:schemeClr val="bg1"/>
                </a:solidFill>
              </a:rPr>
              <a:t>Tilauskanta on kuitenkin hyvin vahva ja tuotanto kehittyneekin vahvasti pitkälle loppuvuoteen.</a:t>
            </a:r>
          </a:p>
          <a:p>
            <a:pPr marL="657765" lvl="1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fi-FI" sz="1200" dirty="0"/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200" dirty="0"/>
              <a:t>Kysyntätilanteessa ei nopeita muutoksia heikompaan, pikemminkin jatkuvaa tasaista hiipumista.</a:t>
            </a:r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fi-FI" sz="1200" dirty="0"/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200" dirty="0"/>
              <a:t>Heikentyvässä kysyntäympäristössä kustannuskilpailukyvyn merkitys korostuu jälleen.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9FB9D53A-29BA-4917-A69D-C33A4A728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7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D22D1770-AB6E-4312-B195-7F88B9AFA1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A50D0A-99B9-48FE-8B08-047EE10ADBDA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58AADB30-7758-4072-A27D-92205D0172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573167509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7992000" cy="86397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i-FI"/>
              <a:t>Teknologiateollisuuden yritysten saamat tarjouspyynnöt Suomessa* </a:t>
            </a:r>
            <a:endParaRPr lang="fi-FI" sz="1600" b="0"/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>
                <a:solidFill>
                  <a:srgbClr val="29282E"/>
                </a:solidFill>
              </a:rPr>
              <a:pPr/>
              <a:t>8</a:t>
            </a:fld>
            <a:endParaRPr lang="fi-FI">
              <a:solidFill>
                <a:srgbClr val="29282E"/>
              </a:solidFill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>
                <a:solidFill>
                  <a:srgbClr val="29282E"/>
                </a:solidFill>
              </a:rPr>
              <a:pPr/>
              <a:t>9.8.2022</a:t>
            </a:fld>
            <a:endParaRPr lang="fi-FI">
              <a:solidFill>
                <a:srgbClr val="29282E"/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>
                <a:solidFill>
                  <a:srgbClr val="29282E"/>
                </a:solidFill>
              </a:rPr>
              <a:t>Teknologiateollisuus</a:t>
            </a: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3029406" cy="292448"/>
          </a:xfrm>
        </p:spPr>
        <p:txBody>
          <a:bodyPr/>
          <a:lstStyle/>
          <a:p>
            <a:r>
              <a:rPr lang="fi-FI" dirty="0"/>
              <a:t>Lähde: Teknologiateollisuus ry:n tilauskantatiedustelu, </a:t>
            </a:r>
          </a:p>
          <a:p>
            <a:r>
              <a:rPr lang="fi-FI" dirty="0"/>
              <a:t>viimeisin kyselyajankohta: heinäkuu 2022. </a:t>
            </a:r>
          </a:p>
          <a:p>
            <a:endParaRPr lang="fi-FI" dirty="0"/>
          </a:p>
        </p:txBody>
      </p:sp>
      <p:graphicFrame>
        <p:nvGraphicFramePr>
          <p:cNvPr id="8" name="Sisällön paikkamerkki 7"/>
          <p:cNvGraphicFramePr>
            <a:graphicFrameLocks noGrp="1"/>
          </p:cNvGraphicFramePr>
          <p:nvPr>
            <p:ph sz="quarter" idx="17"/>
          </p:nvPr>
        </p:nvGraphicFramePr>
        <p:xfrm>
          <a:off x="381000" y="1081328"/>
          <a:ext cx="8391525" cy="3304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Suorakulmio 5"/>
          <p:cNvSpPr/>
          <p:nvPr/>
        </p:nvSpPr>
        <p:spPr>
          <a:xfrm>
            <a:off x="609192" y="4288357"/>
            <a:ext cx="82241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i-FI" sz="800" dirty="0"/>
              <a:t>*) ”Onko tarjouspyyntöjen määrässä viime viikkoina näkyvissä oleellista vähenemistä tai lisääntymistä, kun verrataan tilannetta noin kolme kuukautta sitten vallinneeseen tilanteeseen”. Saldoluku = niiden yritysten osuus, joissa tarjouspyyntöjen määrä on lisääntynyt – niiden yritysten osuus, joissa tarjouspyyntöjen määrä on vähentynyt. </a:t>
            </a:r>
            <a:r>
              <a:rPr lang="fi-FI" sz="800"/>
              <a:t>Positiivinen saldoluku viittaa kysynnän parantumiseen kolme kuukautta sitten vallinneeseen tilanteeseen nähden.</a:t>
            </a:r>
            <a:endParaRPr lang="fi-FI" sz="800" dirty="0"/>
          </a:p>
        </p:txBody>
      </p:sp>
      <p:graphicFrame>
        <p:nvGraphicFramePr>
          <p:cNvPr id="10" name="Taulukko 9">
            <a:extLst>
              <a:ext uri="{FF2B5EF4-FFF2-40B4-BE49-F238E27FC236}">
                <a16:creationId xmlns:a16="http://schemas.microsoft.com/office/drawing/2014/main" id="{CD03F6E4-A1DB-4839-B471-E329EB65AB8B}"/>
              </a:ext>
            </a:extLst>
          </p:cNvPr>
          <p:cNvGraphicFramePr>
            <a:graphicFrameLocks noGrp="1"/>
          </p:cNvGraphicFramePr>
          <p:nvPr/>
        </p:nvGraphicFramePr>
        <p:xfrm>
          <a:off x="740374" y="2449415"/>
          <a:ext cx="7864075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6057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057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057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057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0576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0576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2330874930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2999849335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5078131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7992408" cy="648000"/>
          </a:xfrm>
        </p:spPr>
        <p:txBody>
          <a:bodyPr>
            <a:noAutofit/>
          </a:bodyPr>
          <a:lstStyle/>
          <a:p>
            <a:r>
              <a:rPr lang="fi-FI" sz="2000" dirty="0"/>
              <a:t>Teknologiateollisuuden henkilöstömäärä Suomessa edelleen ripeässä kasvu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9</a:t>
            </a:fld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9.8.2022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Teknologiateollisuus ry:n henkilöstötiedustelu</a:t>
            </a:r>
          </a:p>
        </p:txBody>
      </p:sp>
      <p:graphicFrame>
        <p:nvGraphicFramePr>
          <p:cNvPr id="9" name="Sisällön paikkamerkki 7">
            <a:extLst>
              <a:ext uri="{FF2B5EF4-FFF2-40B4-BE49-F238E27FC236}">
                <a16:creationId xmlns:a16="http://schemas.microsoft.com/office/drawing/2014/main" id="{E0EB4AEC-EC50-4F67-BEB1-A8415E3A7B3A}"/>
              </a:ext>
            </a:extLst>
          </p:cNvPr>
          <p:cNvGraphicFramePr>
            <a:graphicFrameLocks/>
          </p:cNvGraphicFramePr>
          <p:nvPr/>
        </p:nvGraphicFramePr>
        <p:xfrm>
          <a:off x="252000" y="1131590"/>
          <a:ext cx="8496464" cy="3456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800762062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jq246uRr.fpeXiHoBE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FlGw2M3j2W7GeiIxL7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Axy0IjQV2fjaelmgls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pBvpGTuPPj72SKRj4D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pBvpGTuPPj72SKRj4D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k4z5ZsIcPyJlOGtPIfg"/>
</p:tagLst>
</file>

<file path=ppt/theme/theme1.xml><?xml version="1.0" encoding="utf-8"?>
<a:theme xmlns:a="http://schemas.openxmlformats.org/drawingml/2006/main" name="Teknologiateollisuus_masterdia">
  <a:themeElements>
    <a:clrScheme name="Teknologiateollisuus">
      <a:dk1>
        <a:srgbClr val="29282E"/>
      </a:dk1>
      <a:lt1>
        <a:srgbClr val="FFFFFF"/>
      </a:lt1>
      <a:dk2>
        <a:srgbClr val="29282E"/>
      </a:dk2>
      <a:lt2>
        <a:srgbClr val="FFFFFF"/>
      </a:lt2>
      <a:accent1>
        <a:srgbClr val="0070C0"/>
      </a:accent1>
      <a:accent2>
        <a:srgbClr val="FF00B8"/>
      </a:accent2>
      <a:accent3>
        <a:srgbClr val="85E869"/>
      </a:accent3>
      <a:accent4>
        <a:srgbClr val="FF805C"/>
      </a:accent4>
      <a:accent5>
        <a:srgbClr val="8A0FA6"/>
      </a:accent5>
      <a:accent6>
        <a:srgbClr val="FFFF00"/>
      </a:accent6>
      <a:hlink>
        <a:srgbClr val="0ACFCF"/>
      </a:hlink>
      <a:folHlink>
        <a:srgbClr val="0ACFCF"/>
      </a:folHlink>
    </a:clrScheme>
    <a:fontScheme name="Teknologiateollisuu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>
          <a:defRPr/>
        </a:defPPr>
      </a:lstStyle>
    </a:spDef>
    <a:lnDef>
      <a:spPr>
        <a:ln w="190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pc="-4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kno_FI_2016" id="{20EA1341-EE32-433B-BC03-FE23A0136C67}" vid="{91854BC2-7349-49C3-92B6-AE41D831ABA0}"/>
    </a:ext>
  </a:extLst>
</a:theme>
</file>

<file path=ppt/theme/theme2.xml><?xml version="1.0" encoding="utf-8"?>
<a:theme xmlns:a="http://schemas.openxmlformats.org/drawingml/2006/main" name="1_Accenture aug2016">
  <a:themeElements>
    <a:clrScheme name="Custom 8">
      <a:dk1>
        <a:srgbClr val="000000"/>
      </a:dk1>
      <a:lt1>
        <a:srgbClr val="FFFFFF"/>
      </a:lt1>
      <a:dk2>
        <a:srgbClr val="919191"/>
      </a:dk2>
      <a:lt2>
        <a:srgbClr val="FF0000"/>
      </a:lt2>
      <a:accent1>
        <a:srgbClr val="FF9128"/>
      </a:accent1>
      <a:accent2>
        <a:srgbClr val="FE3C0F"/>
      </a:accent2>
      <a:accent3>
        <a:srgbClr val="FF0000"/>
      </a:accent3>
      <a:accent4>
        <a:srgbClr val="BC001D"/>
      </a:accent4>
      <a:accent5>
        <a:srgbClr val="920026"/>
      </a:accent5>
      <a:accent6>
        <a:srgbClr val="710011"/>
      </a:accent6>
      <a:hlink>
        <a:srgbClr val="FF0000"/>
      </a:hlink>
      <a:folHlink>
        <a:srgbClr val="710011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>
            <a:lumMod val="60000"/>
            <a:lumOff val="40000"/>
          </a:schemeClr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wrap="square" lIns="0" tIns="0" rIns="0" bIns="0" rtlCol="0">
        <a:noAutofit/>
      </a:bodyPr>
      <a:lstStyle>
        <a:defPPr>
          <a:defRPr sz="1200"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200305 Strategic BD approach for Nordics MU - FOR DISCUSSION - v2  -  Read-Only" id="{AA9A4D4A-1FF2-4B35-AF13-9182F4DAE34F}" vid="{51B938EA-64D2-4EA8-B1E9-1C8E57B71BC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Teknologiateollisuus">
    <a:dk1>
      <a:srgbClr val="002664"/>
    </a:dk1>
    <a:lt1>
      <a:srgbClr val="FFFFFF"/>
    </a:lt1>
    <a:dk2>
      <a:srgbClr val="002664"/>
    </a:dk2>
    <a:lt2>
      <a:srgbClr val="D7D3C7"/>
    </a:lt2>
    <a:accent1>
      <a:srgbClr val="822433"/>
    </a:accent1>
    <a:accent2>
      <a:srgbClr val="002664"/>
    </a:accent2>
    <a:accent3>
      <a:srgbClr val="00A1DE"/>
    </a:accent3>
    <a:accent4>
      <a:srgbClr val="D95E16"/>
    </a:accent4>
    <a:accent5>
      <a:srgbClr val="FFBC3D"/>
    </a:accent5>
    <a:accent6>
      <a:srgbClr val="A2AD00"/>
    </a:accent6>
    <a:hlink>
      <a:srgbClr val="A2AD00"/>
    </a:hlink>
    <a:folHlink>
      <a:srgbClr val="00A1DE"/>
    </a:folHlink>
  </a:clrScheme>
  <a:fontScheme name="5nuolen_vaakaKANSI_SUOMI">
    <a:majorFont>
      <a:latin typeface="Arial"/>
      <a:ea typeface="Arial Unicode MS"/>
      <a:cs typeface="Arial Unicode MS"/>
    </a:majorFont>
    <a:minorFont>
      <a:latin typeface="Arial"/>
      <a:ea typeface="Arial Unicode MS"/>
      <a:cs typeface="Arial Unicode MS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4015653-d442-4718-8e0e-140bab151380">
      <UserInfo>
        <DisplayName>Forsman Daniel</DisplayName>
        <AccountId>38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B54E2ACC82FC5948B3BC53EE2688E412" ma:contentTypeVersion="11" ma:contentTypeDescription="Luo uusi asiakirja." ma:contentTypeScope="" ma:versionID="5fda56d5065e715db5d1a84803b3c218">
  <xsd:schema xmlns:xsd="http://www.w3.org/2001/XMLSchema" xmlns:xs="http://www.w3.org/2001/XMLSchema" xmlns:p="http://schemas.microsoft.com/office/2006/metadata/properties" xmlns:ns3="18888a3a-9613-4736-b8cf-f212d38d32e5" xmlns:ns4="f4015653-d442-4718-8e0e-140bab151380" targetNamespace="http://schemas.microsoft.com/office/2006/metadata/properties" ma:root="true" ma:fieldsID="03e223eeee9631e49b4eb743440104a7" ns3:_="" ns4:_="">
    <xsd:import namespace="18888a3a-9613-4736-b8cf-f212d38d32e5"/>
    <xsd:import namespace="f4015653-d442-4718-8e0e-140bab15138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Tags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888a3a-9613-4736-b8cf-f212d38d32e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Location" ma:internalName="MediaServiceLocatio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015653-d442-4718-8e0e-140bab151380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Jakamisvihjeen hajautus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159B844-F195-4D26-97DD-6E2B728D2A0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43AC004-C085-4D53-BC3A-BFB6D15CF169}">
  <ds:schemaRefs>
    <ds:schemaRef ds:uri="f4015653-d442-4718-8e0e-140bab151380"/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0EA2ECDA-83CE-4AD3-BC65-9F6821763B39}">
  <ds:schemaRefs>
    <ds:schemaRef ds:uri="18888a3a-9613-4736-b8cf-f212d38d32e5"/>
    <ds:schemaRef ds:uri="f4015653-d442-4718-8e0e-140bab15138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506</TotalTime>
  <Words>672</Words>
  <Application>Microsoft Office PowerPoint</Application>
  <PresentationFormat>Näytössä katseltava esitys (16:9)</PresentationFormat>
  <Paragraphs>217</Paragraphs>
  <Slides>15</Slides>
  <Notes>7</Notes>
  <HiddenSlides>0</HiddenSlides>
  <MMClips>0</MMClips>
  <ScaleCrop>false</ScaleCrop>
  <HeadingPairs>
    <vt:vector size="8" baseType="variant">
      <vt:variant>
        <vt:lpstr>Käytetyt fontit</vt:lpstr>
      </vt:variant>
      <vt:variant>
        <vt:i4>4</vt:i4>
      </vt:variant>
      <vt:variant>
        <vt:lpstr>Teema</vt:lpstr>
      </vt:variant>
      <vt:variant>
        <vt:i4>2</vt:i4>
      </vt:variant>
      <vt:variant>
        <vt:lpstr>Upotetut OLE-palvelimet</vt:lpstr>
      </vt:variant>
      <vt:variant>
        <vt:i4>2</vt:i4>
      </vt:variant>
      <vt:variant>
        <vt:lpstr>Dian otsikot</vt:lpstr>
      </vt:variant>
      <vt:variant>
        <vt:i4>15</vt:i4>
      </vt:variant>
    </vt:vector>
  </HeadingPairs>
  <TitlesOfParts>
    <vt:vector size="23" baseType="lpstr">
      <vt:lpstr>Arial</vt:lpstr>
      <vt:lpstr>Arial Black</vt:lpstr>
      <vt:lpstr>Arial Bold</vt:lpstr>
      <vt:lpstr>Verdana</vt:lpstr>
      <vt:lpstr>Teknologiateollisuus_masterdia</vt:lpstr>
      <vt:lpstr>1_Accenture aug2016</vt:lpstr>
      <vt:lpstr>think-cell Slide</vt:lpstr>
      <vt:lpstr>Macrobond document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Rautaporras Petteri</dc:creator>
  <cp:keywords>Teknologiateollisuus_FI</cp:keywords>
  <cp:lastModifiedBy>Kaijomaa Helvi</cp:lastModifiedBy>
  <cp:revision>141</cp:revision>
  <cp:lastPrinted>2020-08-06T06:12:28Z</cp:lastPrinted>
  <dcterms:created xsi:type="dcterms:W3CDTF">2019-10-17T09:08:24Z</dcterms:created>
  <dcterms:modified xsi:type="dcterms:W3CDTF">2022-08-09T08:09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vkameleonVerID">
    <vt:lpwstr>482.21.02.003</vt:lpwstr>
  </property>
  <property fmtid="{D5CDD505-2E9C-101B-9397-08002B2CF9AE}" pid="3" name="dvSaved">
    <vt:lpwstr>1</vt:lpwstr>
  </property>
  <property fmtid="{D5CDD505-2E9C-101B-9397-08002B2CF9AE}" pid="4" name="dvLanguage">
    <vt:lpwstr>1035</vt:lpwstr>
  </property>
  <property fmtid="{D5CDD505-2E9C-101B-9397-08002B2CF9AE}" pid="5" name="dvTemplate">
    <vt:lpwstr>Tekno_fi.potx</vt:lpwstr>
  </property>
  <property fmtid="{D5CDD505-2E9C-101B-9397-08002B2CF9AE}" pid="6" name="dvDefinition">
    <vt:lpwstr>23 (dd_default.xml)</vt:lpwstr>
  </property>
  <property fmtid="{D5CDD505-2E9C-101B-9397-08002B2CF9AE}" pid="7" name="dvDefinitionID">
    <vt:lpwstr>23</vt:lpwstr>
  </property>
  <property fmtid="{D5CDD505-2E9C-101B-9397-08002B2CF9AE}" pid="8" name="dvContentFile">
    <vt:lpwstr>dd_default.xml</vt:lpwstr>
  </property>
  <property fmtid="{D5CDD505-2E9C-101B-9397-08002B2CF9AE}" pid="9" name="dvGlobalVerID">
    <vt:lpwstr>482.90.02.003</vt:lpwstr>
  </property>
  <property fmtid="{D5CDD505-2E9C-101B-9397-08002B2CF9AE}" pid="10" name="dvDefinitionVersion">
    <vt:lpwstr>2.1 / 22.1.2015</vt:lpwstr>
  </property>
  <property fmtid="{D5CDD505-2E9C-101B-9397-08002B2CF9AE}" pid="11" name="filename">
    <vt:lpwstr>false</vt:lpwstr>
  </property>
  <property fmtid="{D5CDD505-2E9C-101B-9397-08002B2CF9AE}" pid="12" name="filenameandpath">
    <vt:lpwstr>false</vt:lpwstr>
  </property>
  <property fmtid="{D5CDD505-2E9C-101B-9397-08002B2CF9AE}" pid="13" name="dvPagenumberExist">
    <vt:lpwstr>1</vt:lpwstr>
  </property>
  <property fmtid="{D5CDD505-2E9C-101B-9397-08002B2CF9AE}" pid="14" name="dvAuthorExist">
    <vt:lpwstr>1</vt:lpwstr>
  </property>
  <property fmtid="{D5CDD505-2E9C-101B-9397-08002B2CF9AE}" pid="15" name="dvDateExist">
    <vt:lpwstr>-1</vt:lpwstr>
  </property>
  <property fmtid="{D5CDD505-2E9C-101B-9397-08002B2CF9AE}" pid="16" name="dvCategory">
    <vt:lpwstr>4</vt:lpwstr>
  </property>
  <property fmtid="{D5CDD505-2E9C-101B-9397-08002B2CF9AE}" pid="17" name="dvCategory_2">
    <vt:lpwstr>0</vt:lpwstr>
  </property>
  <property fmtid="{D5CDD505-2E9C-101B-9397-08002B2CF9AE}" pid="18" name="dvSavepath">
    <vt:lpwstr/>
  </property>
  <property fmtid="{D5CDD505-2E9C-101B-9397-08002B2CF9AE}" pid="19" name="dvUsed">
    <vt:lpwstr>1</vt:lpwstr>
  </property>
  <property fmtid="{D5CDD505-2E9C-101B-9397-08002B2CF9AE}" pid="20" name="dvCompany">
    <vt:lpwstr/>
  </property>
  <property fmtid="{D5CDD505-2E9C-101B-9397-08002B2CF9AE}" pid="21" name="dvSite">
    <vt:lpwstr/>
  </property>
  <property fmtid="{D5CDD505-2E9C-101B-9397-08002B2CF9AE}" pid="22" name="dvNumbering">
    <vt:lpwstr>0</vt:lpwstr>
  </property>
  <property fmtid="{D5CDD505-2E9C-101B-9397-08002B2CF9AE}" pid="23" name="dvDUname">
    <vt:lpwstr>Nora Elers</vt:lpwstr>
  </property>
  <property fmtid="{D5CDD505-2E9C-101B-9397-08002B2CF9AE}" pid="24" name="dvDUdepartment">
    <vt:lpwstr/>
  </property>
  <property fmtid="{D5CDD505-2E9C-101B-9397-08002B2CF9AE}" pid="25" name="dvLogoExist">
    <vt:lpwstr>0</vt:lpwstr>
  </property>
  <property fmtid="{D5CDD505-2E9C-101B-9397-08002B2CF9AE}" pid="26" name="dvCurrentlogo">
    <vt:lpwstr/>
  </property>
  <property fmtid="{D5CDD505-2E9C-101B-9397-08002B2CF9AE}" pid="27" name="ContentTypeId">
    <vt:lpwstr>0x010100B54E2ACC82FC5948B3BC53EE2688E412</vt:lpwstr>
  </property>
  <property fmtid="{D5CDD505-2E9C-101B-9397-08002B2CF9AE}" pid="28" name="TyoryhmanNimi">
    <vt:lpwstr>Talous ja tilastot</vt:lpwstr>
  </property>
</Properties>
</file>